
<file path=[Content_Types].xml><?xml version="1.0" encoding="utf-8"?>
<Types xmlns="http://schemas.openxmlformats.org/package/2006/content-types">
  <Default ContentType="application/vnd.openxmlformats-officedocument.oleObject" Extension="bin"/>
  <Default ContentType="image/x-emf" Extension="emf"/>
  <Default ContentType="image/jpeg" Extension="jfif"/>
  <Default ContentType="image/jpeg" Extension="jpeg"/>
  <Default ContentType="image/jpeg" Extension="jpg"/>
  <Default ContentType="image/png" Extension="png"/>
  <Default ContentType="application/vnd.openxmlformats-package.relationships+xml" Extension="rels"/>
  <Default ContentType="image/tiff" Extension="tiff"/>
  <Default ContentType="application/vnd.openxmlformats-officedocument.vmlDrawing" Extension="vml"/>
  <Default ContentType="image/vnd.ms-photo" Extension="wdp"/>
  <Default ContentType="image/x-wmf" Extension="wmf"/>
  <Default ContentType="application/vnd.openxmlformats-officedocument.spreadsheetml.sheet" Extension="xlsx"/>
  <Default ContentType="application/xml" Extension="xml"/>
  <Override ContentType="application/vnd.openxmlformats-officedocument.presentationml.presentation.main+xml" PartName="/ppt/presentation.xml"/>
  <Override ContentType="application/vnd.openxmlformats-officedocument.presentationml.slideMaster+xml" PartName="/ppt/slideMasters/slideMaster1.xml"/>
  <Override ContentType="application/vnd.openxmlformats-officedocument.presentationml.slideMaster+xml" PartName="/ppt/slideMasters/slideMaster2.xml"/>
  <Override ContentType="application/vnd.openxmlformats-officedocument.presentationml.slideMaster+xml" PartName="/ppt/slideMasters/slideMaster3.xml"/>
  <Override ContentType="application/vnd.openxmlformats-officedocument.presentationml.slideMaster+xml" PartName="/ppt/slideMasters/slideMaster4.xml"/>
  <Override ContentType="application/vnd.openxmlformats-officedocument.presentationml.slide+xml" PartName="/ppt/slides/slide1.xml"/>
  <Override ContentType="application/vnd.openxmlformats-officedocument.presentationml.slide+xml" PartName="/ppt/slides/slide2.xml"/>
  <Override ContentType="application/vnd.openxmlformats-officedocument.presentationml.slide+xml" PartName="/ppt/slides/slide3.xml"/>
  <Override ContentType="application/vnd.openxmlformats-officedocument.presentationml.slide+xml" PartName="/ppt/slides/slide4.xml"/>
  <Override ContentType="application/vnd.openxmlformats-officedocument.presentationml.slide+xml" PartName="/ppt/slides/slide5.xml"/>
  <Override ContentType="application/vnd.openxmlformats-officedocument.presentationml.slide+xml" PartName="/ppt/slides/slide6.xml"/>
  <Override ContentType="application/vnd.openxmlformats-officedocument.presentationml.slide+xml" PartName="/ppt/slides/slide7.xml"/>
  <Override ContentType="application/vnd.openxmlformats-officedocument.presentationml.slide+xml" PartName="/ppt/slides/slide8.xml"/>
  <Override ContentType="application/vnd.openxmlformats-officedocument.presentationml.slide+xml" PartName="/ppt/slides/slide9.xml"/>
  <Override ContentType="application/vnd.openxmlformats-officedocument.presentationml.slide+xml" PartName="/ppt/slides/slide10.xml"/>
  <Override ContentType="application/vnd.openxmlformats-officedocument.presentationml.slide+xml" PartName="/ppt/slides/slide11.xml"/>
  <Override ContentType="application/vnd.openxmlformats-officedocument.presentationml.slide+xml" PartName="/ppt/slides/slide12.xml"/>
  <Override ContentType="application/vnd.openxmlformats-officedocument.presentationml.slide+xml" PartName="/ppt/slides/slide13.xml"/>
  <Override ContentType="application/vnd.openxmlformats-officedocument.presentationml.slide+xml" PartName="/ppt/slides/slide14.xml"/>
  <Override ContentType="application/vnd.openxmlformats-officedocument.presentationml.slide+xml" PartName="/ppt/slides/slide15.xml"/>
  <Override ContentType="application/vnd.openxmlformats-officedocument.presentationml.slide+xml" PartName="/ppt/slides/slide16.xml"/>
  <Override ContentType="application/vnd.openxmlformats-officedocument.presentationml.slide+xml" PartName="/ppt/slides/slide17.xml"/>
  <Override ContentType="application/vnd.openxmlformats-officedocument.presentationml.slide+xml" PartName="/ppt/slides/slide18.xml"/>
  <Override ContentType="application/vnd.openxmlformats-officedocument.presentationml.slide+xml" PartName="/ppt/slides/slide19.xml"/>
  <Override ContentType="application/vnd.openxmlformats-officedocument.presentationml.slide+xml" PartName="/ppt/slides/slide20.xml"/>
  <Override ContentType="application/vnd.openxmlformats-officedocument.presentationml.slide+xml" PartName="/ppt/slides/slide21.xml"/>
  <Override ContentType="application/vnd.openxmlformats-officedocument.presentationml.notesMaster+xml" PartName="/ppt/notesMasters/notesMaster1.xml"/>
  <Override ContentType="application/vnd.openxmlformats-officedocument.presentationml.presProps+xml" PartName="/ppt/presProps.xml"/>
  <Override ContentType="application/vnd.openxmlformats-officedocument.presentationml.viewProps+xml" PartName="/ppt/viewProps.xml"/>
  <Override ContentType="application/vnd.openxmlformats-officedocument.theme+xml" PartName="/ppt/theme/theme1.xml"/>
  <Override ContentType="application/vnd.openxmlformats-officedocument.presentationml.tableStyles+xml" PartName="/ppt/tableStyles.xml"/>
  <Override ContentType="application/vnd.openxmlformats-officedocument.presentationml.slideLayout+xml" PartName="/ppt/slideLayouts/slideLayout1.xml"/>
  <Override ContentType="application/vnd.openxmlformats-officedocument.presentationml.slideLayout+xml" PartName="/ppt/slideLayouts/slideLayout2.xml"/>
  <Override ContentType="application/vnd.openxmlformats-officedocument.presentationml.slideLayout+xml" PartName="/ppt/slideLayouts/slideLayout3.xml"/>
  <Override ContentType="application/vnd.openxmlformats-officedocument.presentationml.slideLayout+xml" PartName="/ppt/slideLayouts/slideLayout4.xml"/>
  <Override ContentType="application/vnd.openxmlformats-officedocument.presentationml.slideLayout+xml" PartName="/ppt/slideLayouts/slideLayout5.xml"/>
  <Override ContentType="application/vnd.openxmlformats-officedocument.presentationml.slideLayout+xml" PartName="/ppt/slideLayouts/slideLayout6.xml"/>
  <Override ContentType="application/vnd.openxmlformats-officedocument.presentationml.slideLayout+xml" PartName="/ppt/slideLayouts/slideLayout7.xml"/>
  <Override ContentType="application/vnd.openxmlformats-officedocument.presentationml.slideLayout+xml" PartName="/ppt/slideLayouts/slideLayout8.xml"/>
  <Override ContentType="application/vnd.openxmlformats-officedocument.presentationml.slideLayout+xml" PartName="/ppt/slideLayouts/slideLayout9.xml"/>
  <Override ContentType="application/vnd.openxmlformats-officedocument.presentationml.slideLayout+xml" PartName="/ppt/slideLayouts/slideLayout10.xml"/>
  <Override ContentType="application/vnd.openxmlformats-officedocument.presentationml.slideLayout+xml" PartName="/ppt/slideLayouts/slideLayout11.xml"/>
  <Override ContentType="application/vnd.openxmlformats-officedocument.presentationml.slideLayout+xml" PartName="/ppt/slideLayouts/slideLayout12.xml"/>
  <Override ContentType="application/vnd.openxmlformats-officedocument.presentationml.slideLayout+xml" PartName="/ppt/slideLayouts/slideLayout13.xml"/>
  <Override ContentType="application/vnd.openxmlformats-officedocument.presentationml.slideLayout+xml" PartName="/ppt/slideLayouts/slideLayout14.xml"/>
  <Override ContentType="application/vnd.openxmlformats-officedocument.presentationml.slideLayout+xml" PartName="/ppt/slideLayouts/slideLayout15.xml"/>
  <Override ContentType="application/vnd.openxmlformats-officedocument.theme+xml" PartName="/ppt/theme/theme2.xml"/>
  <Override ContentType="application/vnd.openxmlformats-officedocument.presentationml.slideLayout+xml" PartName="/ppt/slideLayouts/slideLayout16.xml"/>
  <Override ContentType="application/vnd.openxmlformats-officedocument.theme+xml" PartName="/ppt/theme/theme3.xml"/>
  <Override ContentType="application/vnd.openxmlformats-officedocument.presentationml.slideLayout+xml" PartName="/ppt/slideLayouts/slideLayout17.xml"/>
  <Override ContentType="application/vnd.openxmlformats-officedocument.presentationml.slideLayout+xml" PartName="/ppt/slideLayouts/slideLayout18.xml"/>
  <Override ContentType="application/vnd.openxmlformats-officedocument.presentationml.slideLayout+xml" PartName="/ppt/slideLayouts/slideLayout19.xml"/>
  <Override ContentType="application/vnd.openxmlformats-officedocument.presentationml.slideLayout+xml" PartName="/ppt/slideLayouts/slideLayout20.xml"/>
  <Override ContentType="application/vnd.openxmlformats-officedocument.presentationml.slideLayout+xml" PartName="/ppt/slideLayouts/slideLayout21.xml"/>
  <Override ContentType="application/vnd.openxmlformats-officedocument.presentationml.slideLayout+xml" PartName="/ppt/slideLayouts/slideLayout22.xml"/>
  <Override ContentType="application/vnd.openxmlformats-officedocument.presentationml.slideLayout+xml" PartName="/ppt/slideLayouts/slideLayout23.xml"/>
  <Override ContentType="application/vnd.openxmlformats-officedocument.presentationml.slideLayout+xml" PartName="/ppt/slideLayouts/slideLayout24.xml"/>
  <Override ContentType="application/vnd.openxmlformats-officedocument.presentationml.slideLayout+xml" PartName="/ppt/slideLayouts/slideLayout25.xml"/>
  <Override ContentType="application/vnd.openxmlformats-officedocument.presentationml.slideLayout+xml" PartName="/ppt/slideLayouts/slideLayout26.xml"/>
  <Override ContentType="application/vnd.openxmlformats-officedocument.presentationml.slideLayout+xml" PartName="/ppt/slideLayouts/slideLayout27.xml"/>
  <Override ContentType="application/vnd.openxmlformats-officedocument.presentationml.slideLayout+xml" PartName="/ppt/slideLayouts/slideLayout28.xml"/>
  <Override ContentType="application/vnd.openxmlformats-officedocument.presentationml.slideLayout+xml" PartName="/ppt/slideLayouts/slideLayout29.xml"/>
  <Override ContentType="application/vnd.openxmlformats-officedocument.presentationml.slideLayout+xml" PartName="/ppt/slideLayouts/slideLayout30.xml"/>
  <Override ContentType="application/vnd.openxmlformats-officedocument.presentationml.slideLayout+xml" PartName="/ppt/slideLayouts/slideLayout31.xml"/>
  <Override ContentType="application/vnd.openxmlformats-officedocument.theme+xml" PartName="/ppt/theme/theme4.xml"/>
  <Override ContentType="application/vnd.openxmlformats-officedocument.presentationml.tags+xml" PartName="/ppt/tags/tag1.xml"/>
  <Override ContentType="application/vnd.openxmlformats-officedocument.presentationml.tags+xml" PartName="/ppt/tags/tag2.xml"/>
  <Override ContentType="application/vnd.openxmlformats-officedocument.theme+xml" PartName="/ppt/theme/theme5.xml"/>
  <Override ContentType="application/vnd.openxmlformats-officedocument.presentationml.notesSlide+xml" PartName="/ppt/notesSlides/notesSlide1.xml"/>
  <Override ContentType="application/vnd.openxmlformats-officedocument.presentationml.notesSlide+xml" PartName="/ppt/notesSlides/notesSlide2.xml"/>
  <Override ContentType="application/vnd.openxmlformats-officedocument.presentationml.notesSlide+xml" PartName="/ppt/notesSlides/notesSlide3.xml"/>
  <Override ContentType="application/vnd.openxmlformats-officedocument.presentationml.notesSlide+xml" PartName="/ppt/notesSlides/notesSlide4.xml"/>
  <Override ContentType="application/vnd.openxmlformats-officedocument.presentationml.notesSlide+xml" PartName="/ppt/notesSlides/notesSlide5.xml"/>
  <Override ContentType="application/vnd.openxmlformats-officedocument.drawingml.chart+xml" PartName="/ppt/charts/chart1.xml"/>
  <Override ContentType="application/vnd.openxmlformats-officedocument.drawingml.chart+xml" PartName="/ppt/charts/chart2.xml"/>
  <Override ContentType="application/vnd.openxmlformats-officedocument.presentationml.tags+xml" PartName="/ppt/tags/tag3.xml"/>
  <Override ContentType="application/vnd.openxmlformats-officedocument.presentationml.notesSlide+xml" PartName="/ppt/notesSlides/notesSlide6.xml"/>
  <Override ContentType="application/vnd.openxmlformats-officedocument.presentationml.notesSlide+xml" PartName="/ppt/notesSlides/notesSlide7.xml"/>
  <Override ContentType="application/vnd.openxmlformats-officedocument.drawingml.chart+xml" PartName="/ppt/charts/chart3.xml"/>
  <Override ContentType="application/vnd.openxmlformats-officedocument.drawingml.chart+xml" PartName="/ppt/charts/chart4.xml"/>
  <Override ContentType="application/vnd.openxmlformats-officedocument.presentationml.notesSlide+xml" PartName="/ppt/notesSlides/notesSlide8.xml"/>
  <Override ContentType="application/vnd.openxmlformats-officedocument.drawingml.chart+xml" PartName="/ppt/charts/chart5.xml"/>
  <Override ContentType="application/vnd.ms-office.chartstyle+xml" PartName="/ppt/charts/style1.xml"/>
  <Override ContentType="application/vnd.ms-office.chartcolorstyle+xml" PartName="/ppt/charts/colors1.xml"/>
  <Override ContentType="application/vnd.openxmlformats-officedocument.presentationml.notesSlide+xml" PartName="/ppt/notesSlides/notesSlide9.xml"/>
  <Override ContentType="application/vnd.openxmlformats-officedocument.presentationml.notesSlide+xml" PartName="/ppt/notesSlides/notesSlide10.xml"/>
  <Override ContentType="application/vnd.openxmlformats-officedocument.presentationml.notesSlide+xml" PartName="/ppt/notesSlides/notesSlide11.xml"/>
  <Override ContentType="application/vnd.openxmlformats-officedocument.presentationml.notesSlide+xml" PartName="/ppt/notesSlides/notesSlide12.xml"/>
  <Override ContentType="application/vnd.openxmlformats-officedocument.presentationml.notesSlide+xml" PartName="/ppt/notesSlides/notesSlide13.xml"/>
  <Override ContentType="application/vnd.openxmlformats-officedocument.presentationml.notesSlide+xml" PartName="/ppt/notesSlides/notesSlide14.xml"/>
  <Override ContentType="application/vnd.openxmlformats-officedocument.presentationml.notesSlide+xml" PartName="/ppt/notesSlides/notesSlide15.xml"/>
  <Override ContentType="application/vnd.openxmlformats-officedocument.drawingml.chart+xml" PartName="/ppt/charts/chart6.xml"/>
  <Override ContentType="application/haansoftxlsx" PartName="/ppt/embeddings/Microsoft_Excel_Worksheet51.xlsx"/>
  <Override ContentType="application/vnd.openxmlformats-officedocument.drawingml.chartshapes+xml" PartName="/ppt/drawings/drawing1.xml"/>
  <Override ContentType="application/vnd.openxmlformats-officedocument.presentationml.notesSlide+xml" PartName="/ppt/notesSlides/notesSlide16.xml"/>
  <Override ContentType="application/vnd.openxmlformats-officedocument.presentationml.notesSlide+xml" PartName="/ppt/notesSlides/notesSlide17.xml"/>
  <Override ContentType="application/vnd.openxmlformats-package.core-properties+xml" PartName="/docProps/core.xml"/>
  <Override ContentType="application/vnd.openxmlformats-officedocument.extended-properties+xml" PartName="/docProps/app.xml"/>
  <Override ContentType="application/vnd.openxmlformats-officedocument.custom-properties+xml" PartName="/docProps/custom.xml"/>
</Types>
</file>

<file path=_rels/.rels><?xml version="1.0" encoding="UTF-8" standalone="yes" ?><Relationships xmlns="http://schemas.openxmlformats.org/package/2006/relationships"><Relationship Id="rId3" Target="docProps/core.xml" Type="http://schemas.openxmlformats.org/package/2006/relationships/metadata/core-properties"/><Relationship Id="rId2" Target="docProps/thumbnail.jpeg" Type="http://schemas.openxmlformats.org/package/2006/relationships/metadata/thumbnail"/><Relationship Id="rId1" Target="ppt/presentation.xml" Type="http://schemas.openxmlformats.org/officeDocument/2006/relationships/officeDocument"/><Relationship Id="rId4" Target="docProps/app.xml" Type="http://schemas.openxmlformats.org/officeDocument/2006/relationships/extended-properties"/><Relationship Id="rId5" Target="docProps/custom.xml" Type="http://schemas.openxmlformats.org/officeDocument/2006/relationships/custom-properties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48" r:id="rId1"/>
    <p:sldMasterId id="2147483651" r:id="rId2"/>
    <p:sldMasterId id="2147483653" r:id="rId3"/>
    <p:sldMasterId id="2147483684" r:id="rId4"/>
  </p:sldMasterIdLst>
  <p:notesMasterIdLst>
    <p:notesMasterId r:id="rId26"/>
  </p:notesMasterIdLst>
  <p:sldIdLst>
    <p:sldId id="358" r:id="rId5"/>
    <p:sldId id="364" r:id="rId6"/>
    <p:sldId id="369" r:id="rId7"/>
    <p:sldId id="269" r:id="rId8"/>
    <p:sldId id="365" r:id="rId9"/>
    <p:sldId id="366" r:id="rId10"/>
    <p:sldId id="367" r:id="rId11"/>
    <p:sldId id="378" r:id="rId12"/>
    <p:sldId id="379" r:id="rId13"/>
    <p:sldId id="381" r:id="rId14"/>
    <p:sldId id="376" r:id="rId15"/>
    <p:sldId id="370" r:id="rId16"/>
    <p:sldId id="2464" r:id="rId17"/>
    <p:sldId id="340" r:id="rId18"/>
    <p:sldId id="339" r:id="rId19"/>
    <p:sldId id="372" r:id="rId20"/>
    <p:sldId id="2465" r:id="rId21"/>
    <p:sldId id="2466" r:id="rId22"/>
    <p:sldId id="2467" r:id="rId23"/>
    <p:sldId id="2463" r:id="rId24"/>
    <p:sldId id="335" r:id="rId25"/>
  </p:sldIdLst>
  <p:sldSz cx="12192000" cy="6858000"/>
  <p:notesSz cx="6797675" cy="9928225"/>
  <p:defaultTextStyle>
    <a:defPPr>
      <a:defRPr lang="ko-KR"/>
    </a:defPPr>
    <a:lvl1pPr marL="0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1pPr>
    <a:lvl2pPr marL="609569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2pPr>
    <a:lvl3pPr marL="1219137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3pPr>
    <a:lvl4pPr marL="1828705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4pPr>
    <a:lvl5pPr marL="2438274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5pPr>
    <a:lvl6pPr marL="3047842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6pPr>
    <a:lvl7pPr marL="3657411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7pPr>
    <a:lvl8pPr marL="4266980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8pPr>
    <a:lvl9pPr marL="4876548" algn="l" defTabSz="1219137" rtl="0" eaLnBrk="1" latinLnBrk="1" hangingPunct="1">
      <a:defRPr sz="24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2" pos="506" userDrawn="1">
          <p15:clr>
            <a:srgbClr val="A4A3A4"/>
          </p15:clr>
        </p15:guide>
        <p15:guide id="3" orient="horz" pos="2160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3127" userDrawn="1">
          <p15:clr>
            <a:srgbClr val="A4A3A4"/>
          </p15:clr>
        </p15:guide>
        <p15:guide id="2" pos="2141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A4D144"/>
    <a:srgbClr val="649941"/>
    <a:srgbClr val="7DB755"/>
    <a:srgbClr val="95C575"/>
    <a:srgbClr val="7FB858"/>
    <a:srgbClr val="546F1B"/>
    <a:srgbClr val="273B19"/>
    <a:srgbClr val="166018"/>
    <a:srgbClr val="495F17"/>
    <a:srgbClr val="3F9B4E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D27102A9-8310-4765-A935-A1911B00CA55}" styleName="Светлый стиль 1 — акцент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533" autoAdjust="0"/>
    <p:restoredTop sz="94915" autoAdjust="0"/>
  </p:normalViewPr>
  <p:slideViewPr>
    <p:cSldViewPr>
      <p:cViewPr varScale="1">
        <p:scale>
          <a:sx n="109" d="100"/>
          <a:sy n="109" d="100"/>
        </p:scale>
        <p:origin x="354" y="96"/>
      </p:cViewPr>
      <p:guideLst>
        <p:guide pos="506"/>
        <p:guide orient="horz" pos="216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notesViewPr>
    <p:cSldViewPr showGuides="1">
      <p:cViewPr varScale="1">
        <p:scale>
          <a:sx n="94" d="100"/>
          <a:sy n="94" d="100"/>
        </p:scale>
        <p:origin x="4220" y="76"/>
      </p:cViewPr>
      <p:guideLst>
        <p:guide orient="horz" pos="3127"/>
        <p:guide pos="2141"/>
      </p:guideLst>
    </p:cSldViewPr>
  </p:notesViewPr>
  <p:gridSpacing cx="36004" cy="36004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4.xml"/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notesMaster" Target="notesMasters/notesMaster1.xml"/><Relationship Id="rId3" Type="http://schemas.openxmlformats.org/officeDocument/2006/relationships/slideMaster" Target="slideMasters/slideMaster3.xml"/><Relationship Id="rId21" Type="http://schemas.openxmlformats.org/officeDocument/2006/relationships/slide" Target="slides/slide17.xml"/><Relationship Id="rId7" Type="http://schemas.openxmlformats.org/officeDocument/2006/relationships/slide" Target="slides/slide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0" Type="http://schemas.openxmlformats.org/officeDocument/2006/relationships/slide" Target="slides/slide16.xml"/><Relationship Id="rId29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5" Type="http://schemas.openxmlformats.org/officeDocument/2006/relationships/slide" Target="slides/slide1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viewProps" Target="viewProps.xml"/><Relationship Id="rId10" Type="http://schemas.openxmlformats.org/officeDocument/2006/relationships/slide" Target="slides/slide6.xml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charts/_rels/chart1.xml.rels><?xml version="1.0" encoding="UTF-8" standalone="yes" ?><Relationships xmlns="http://schemas.openxmlformats.org/package/2006/relationships"><Relationship Id="rId1" Target="NULL" TargetMode="External" Type="http://schemas.openxmlformats.org/officeDocument/2006/relationships/oleObject"/></Relationships>
</file>

<file path=ppt/charts/_rels/chart2.xml.rels><?xml version="1.0" encoding="UTF-8" standalone="yes" ?><Relationships xmlns="http://schemas.openxmlformats.org/package/2006/relationships"><Relationship Id="rId1" Target="NULL" TargetMode="External" Type="http://schemas.openxmlformats.org/officeDocument/2006/relationships/oleObject"/></Relationships>
</file>

<file path=ppt/charts/_rels/chart3.xml.rels><?xml version="1.0" encoding="UTF-8" standalone="yes" ?><Relationships xmlns="http://schemas.openxmlformats.org/package/2006/relationships"><Relationship Id="rId1" Target="NULL" TargetMode="External" Type="http://schemas.openxmlformats.org/officeDocument/2006/relationships/oleObject"/></Relationships>
</file>

<file path=ppt/charts/_rels/chart4.xml.rels><?xml version="1.0" encoding="UTF-8" standalone="yes" ?><Relationships xmlns="http://schemas.openxmlformats.org/package/2006/relationships"><Relationship Id="rId1" Target="NULL" TargetMode="External" Type="http://schemas.openxmlformats.org/officeDocument/2006/relationships/oleObject"/></Relationships>
</file>

<file path=ppt/charts/_rels/chart5.xml.rels><?xml version="1.0" encoding="UTF-8" standalone="yes" ?><Relationships xmlns="http://schemas.openxmlformats.org/package/2006/relationships"><Relationship Id="rId3" Target="NULL" TargetMode="External" Type="http://schemas.openxmlformats.org/officeDocument/2006/relationships/oleObject"/><Relationship Id="rId2" Target="colors1.xml" Type="http://schemas.microsoft.com/office/2011/relationships/chartColorStyle"/><Relationship Id="rId1" Target="style1.xml" Type="http://schemas.microsoft.com/office/2011/relationships/chartStyle"/></Relationships>
</file>

<file path=ppt/charts/_rels/chart6.xml.rels><?xml version="1.0" encoding="UTF-8" standalone="yes" ?><Relationships xmlns="http://schemas.openxmlformats.org/package/2006/relationships"><Relationship Id="rId2" Target="../drawings/drawing1.xml" Type="http://schemas.openxmlformats.org/officeDocument/2006/relationships/chartUserShapes"/><Relationship Id="rId1" Target="NULL" TargetMode="External" Type="http://schemas.openxmlformats.org/officeDocument/2006/relationships/oleObject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82727421539009E-2"/>
          <c:y val="4.0625613116208444E-2"/>
          <c:w val="0.96221595559457729"/>
          <c:h val="0.9192826291560393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CD78-49E9-AAC2-6923C5C18691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CD78-49E9-AAC2-6923C5C18691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21</c:v>
                </c:pt>
                <c:pt idx="1">
                  <c:v>79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D78-49E9-AAC2-6923C5C186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82727421539009E-2"/>
          <c:y val="4.0625613116208444E-2"/>
          <c:w val="0.96221595559457729"/>
          <c:h val="0.9192826291560393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279B-4D45-A09E-9A20F1346CB7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279B-4D45-A09E-9A20F1346CB7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</c:v>
                </c:pt>
                <c:pt idx="1">
                  <c:v>96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279B-4D45-A09E-9A20F1346CB7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82727421539009E-2"/>
          <c:y val="4.0625613116208444E-2"/>
          <c:w val="0.96221595559457729"/>
          <c:h val="0.9192826291560393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CD78-49E9-AAC2-6923C5C18691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CD78-49E9-AAC2-6923C5C18691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8</c:v>
                </c:pt>
                <c:pt idx="1">
                  <c:v>82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CD78-49E9-AAC2-6923C5C18691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2.4282727421539009E-2"/>
          <c:y val="4.0625613116208444E-2"/>
          <c:w val="0.96221595559457729"/>
          <c:h val="0.91928262915603931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1"/>
              </a:solidFill>
            </c:spPr>
            <c:extLst>
              <c:ext xmlns:c16="http://schemas.microsoft.com/office/drawing/2014/chart" uri="{C3380CC4-5D6E-409C-BE32-E72D297353CC}">
                <c16:uniqueId val="{00000001-4287-4EAF-AE2A-5AC3FA4E499D}"/>
              </c:ext>
            </c:extLst>
          </c:dPt>
          <c:dPt>
            <c:idx val="1"/>
            <c:bubble3D val="0"/>
            <c:spPr>
              <a:solidFill>
                <a:schemeClr val="bg1">
                  <a:lumMod val="85000"/>
                </a:schemeClr>
              </a:solidFill>
            </c:spPr>
            <c:extLst>
              <c:ext xmlns:c16="http://schemas.microsoft.com/office/drawing/2014/chart" uri="{C3380CC4-5D6E-409C-BE32-E72D297353CC}">
                <c16:uniqueId val="{00000003-4287-4EAF-AE2A-5AC3FA4E499D}"/>
              </c:ext>
            </c:extLst>
          </c:dPt>
          <c:cat>
            <c:strRef>
              <c:f>Sheet1!$A$2:$A$5</c:f>
              <c:strCache>
                <c:ptCount val="4"/>
                <c:pt idx="0">
                  <c:v>1st Qtr</c:v>
                </c:pt>
                <c:pt idx="1">
                  <c:v>2nd Qtr</c:v>
                </c:pt>
                <c:pt idx="2">
                  <c:v>3rd Qtr</c:v>
                </c:pt>
                <c:pt idx="3">
                  <c:v>4th Qtr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18</c:v>
                </c:pt>
                <c:pt idx="1">
                  <c:v>72</c:v>
                </c:pt>
                <c:pt idx="2">
                  <c:v>0</c:v>
                </c:pt>
                <c:pt idx="3">
                  <c:v>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287-4EAF-AE2A-5AC3FA4E499D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8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0"/>
    <c:plotArea>
      <c:layout/>
      <c:barChart>
        <c:barDir val="bar"/>
        <c:grouping val="clustered"/>
        <c:varyColors val="0"/>
        <c:ser>
          <c:idx val="0"/>
          <c:order val="0"/>
          <c:tx>
            <c:strRef>
              <c:f>Лист1!$B$1</c:f>
              <c:strCache>
                <c:ptCount val="1"/>
                <c:pt idx="0">
                  <c:v>Ряд 1</c:v>
                </c:pt>
              </c:strCache>
            </c:strRef>
          </c:tx>
          <c:spPr>
            <a:solidFill>
              <a:schemeClr val="accent1"/>
            </a:solidFill>
            <a:ln>
              <a:noFill/>
            </a:ln>
            <a:effectLst/>
          </c:spPr>
          <c:invertIfNegative val="0"/>
          <c:dLbls>
            <c:dLbl>
              <c:idx val="0"/>
              <c:spPr>
                <a:noFill/>
                <a:ln>
                  <a:noFill/>
                </a:ln>
                <a:effectLst/>
              </c:spPr>
              <c:txPr>
                <a:bodyPr rot="0" spcFirstLastPara="1" vertOverflow="ellipsis" vert="horz" wrap="square" lIns="38100" tIns="19050" rIns="38100" bIns="19050" anchor="ctr" anchorCtr="1">
                  <a:spAutoFit/>
                </a:bodyPr>
                <a:lstStyle/>
                <a:p>
                  <a:pPr>
                    <a:defRPr sz="2800" b="1" i="0" u="none" strike="noStrike" kern="1200" baseline="0">
                      <a:solidFill>
                        <a:schemeClr val="tx1">
                          <a:lumMod val="75000"/>
                          <a:lumOff val="25000"/>
                        </a:schemeClr>
                      </a:solidFill>
                      <a:latin typeface="+mn-lt"/>
                      <a:ea typeface="+mn-ea"/>
                      <a:cs typeface="+mn-cs"/>
                    </a:defRPr>
                  </a:pPr>
                  <a:endParaRPr lang="ru-RU"/>
                </a:p>
              </c:txPr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6="http://schemas.microsoft.com/office/drawing/2014/chart" uri="{C3380CC4-5D6E-409C-BE32-E72D297353CC}">
                  <c16:uniqueId val="{00000004-2E16-4443-BB2B-E07B62869F71}"/>
                </c:ext>
              </c:extLst>
            </c:dLbl>
            <c:dLbl>
              <c:idx val="4"/>
              <c:layout>
                <c:manualLayout>
                  <c:x val="0"/>
                  <c:y val="2.3437498558224637E-3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  <a:fld id="{62D7AB1F-EA67-401D-8BD3-AFA408B80FDE}" type="VALUE">
                      <a:rPr lang="en-US" smtClean="0"/>
                      <a:pPr/>
                      <a:t>[ЗНАЧЕНИЕ]</a:t>
                    </a:fld>
                    <a:endParaRPr lang="en-US" dirty="0"/>
                  </a:p>
                </c:rich>
              </c:tx>
              <c:showLegendKey val="0"/>
              <c:showVal val="1"/>
              <c:showCatName val="0"/>
              <c:showSerName val="0"/>
              <c:showPercent val="0"/>
              <c:showBubbleSize val="0"/>
              <c:extLst>
                <c:ext xmlns:c15="http://schemas.microsoft.com/office/drawing/2012/chart" uri="{CE6537A1-D6FC-4f65-9D91-7224C49458BB}">
                  <c15:dlblFieldTable/>
                  <c15:showDataLabelsRange val="0"/>
                </c:ext>
                <c:ext xmlns:c16="http://schemas.microsoft.com/office/drawing/2014/chart" uri="{C3380CC4-5D6E-409C-BE32-E72D297353CC}">
                  <c16:uniqueId val="{00000000-CAF6-4B2D-B84D-0D9D976E13F1}"/>
                </c:ext>
              </c:extLst>
            </c:dLbl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28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LegendKey val="0"/>
            <c:showVal val="1"/>
            <c:showCatName val="0"/>
            <c:showSerName val="0"/>
            <c:showPercent val="0"/>
            <c:showBubbleSize val="0"/>
            <c:showLeaderLines val="0"/>
            <c:extLst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strRef>
              <c:f>Лист1!$A$2:$A$7</c:f>
              <c:strCache>
                <c:ptCount val="6"/>
                <c:pt idx="0">
                  <c:v>Пензенская</c:v>
                </c:pt>
                <c:pt idx="1">
                  <c:v>Калининградская</c:v>
                </c:pt>
                <c:pt idx="2">
                  <c:v>Брянская</c:v>
                </c:pt>
                <c:pt idx="3">
                  <c:v>Смоленская</c:v>
                </c:pt>
                <c:pt idx="4">
                  <c:v>Ленинградская</c:v>
                </c:pt>
                <c:pt idx="5">
                  <c:v>Московская</c:v>
                </c:pt>
              </c:strCache>
            </c:strRef>
          </c:cat>
          <c:val>
            <c:numRef>
              <c:f>Лист1!$B$2:$B$7</c:f>
              <c:numCache>
                <c:formatCode>General</c:formatCode>
                <c:ptCount val="6"/>
                <c:pt idx="0">
                  <c:v>0</c:v>
                </c:pt>
                <c:pt idx="1">
                  <c:v>3.1</c:v>
                </c:pt>
                <c:pt idx="2">
                  <c:v>5.5</c:v>
                </c:pt>
                <c:pt idx="3">
                  <c:v>16.8</c:v>
                </c:pt>
                <c:pt idx="4">
                  <c:v>34.6</c:v>
                </c:pt>
                <c:pt idx="5">
                  <c:v>40.700000000000003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0-6980-41DC-9089-1B403AE8F4E2}"/>
            </c:ext>
          </c:extLst>
        </c:ser>
        <c:ser>
          <c:idx val="1"/>
          <c:order val="1"/>
          <c:tx>
            <c:strRef>
              <c:f>Лист1!$C$1</c:f>
              <c:strCache>
                <c:ptCount val="1"/>
                <c:pt idx="0">
                  <c:v>Столбец1</c:v>
                </c:pt>
              </c:strCache>
            </c:strRef>
          </c:tx>
          <c:spPr>
            <a:solidFill>
              <a:schemeClr val="accent2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Пензенская</c:v>
                </c:pt>
                <c:pt idx="1">
                  <c:v>Калининградская</c:v>
                </c:pt>
                <c:pt idx="2">
                  <c:v>Брянская</c:v>
                </c:pt>
                <c:pt idx="3">
                  <c:v>Смоленская</c:v>
                </c:pt>
                <c:pt idx="4">
                  <c:v>Ленинградская</c:v>
                </c:pt>
                <c:pt idx="5">
                  <c:v>Московская</c:v>
                </c:pt>
              </c:strCache>
            </c:strRef>
          </c:cat>
          <c:val>
            <c:numRef>
              <c:f>Лист1!$C$2:$C$7</c:f>
              <c:numCache>
                <c:formatCode>General</c:formatCode>
                <c:ptCount val="6"/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1-6980-41DC-9089-1B403AE8F4E2}"/>
            </c:ext>
          </c:extLst>
        </c:ser>
        <c:ser>
          <c:idx val="2"/>
          <c:order val="2"/>
          <c:tx>
            <c:strRef>
              <c:f>Лист1!$D$1</c:f>
              <c:strCache>
                <c:ptCount val="1"/>
                <c:pt idx="0">
                  <c:v>Столбец2</c:v>
                </c:pt>
              </c:strCache>
            </c:strRef>
          </c:tx>
          <c:spPr>
            <a:solidFill>
              <a:schemeClr val="accent3"/>
            </a:solidFill>
            <a:ln>
              <a:noFill/>
            </a:ln>
            <a:effectLst/>
          </c:spPr>
          <c:invertIfNegative val="0"/>
          <c:cat>
            <c:strRef>
              <c:f>Лист1!$A$2:$A$7</c:f>
              <c:strCache>
                <c:ptCount val="6"/>
                <c:pt idx="0">
                  <c:v>Пензенская</c:v>
                </c:pt>
                <c:pt idx="1">
                  <c:v>Калининградская</c:v>
                </c:pt>
                <c:pt idx="2">
                  <c:v>Брянская</c:v>
                </c:pt>
                <c:pt idx="3">
                  <c:v>Смоленская</c:v>
                </c:pt>
                <c:pt idx="4">
                  <c:v>Ленинградская</c:v>
                </c:pt>
                <c:pt idx="5">
                  <c:v>Московская</c:v>
                </c:pt>
              </c:strCache>
            </c:strRef>
          </c:cat>
          <c:val>
            <c:numRef>
              <c:f>Лист1!$D$2:$D$7</c:f>
              <c:numCache>
                <c:formatCode>General</c:formatCode>
                <c:ptCount val="6"/>
              </c:numCache>
            </c:numRef>
          </c:val>
          <c:extLst xmlns:c15="http://schemas.microsoft.com/office/drawing/2012/chart">
            <c:ext xmlns:c16="http://schemas.microsoft.com/office/drawing/2014/chart" uri="{C3380CC4-5D6E-409C-BE32-E72D297353CC}">
              <c16:uniqueId val="{00000002-6980-41DC-9089-1B403AE8F4E2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</c:dLbls>
        <c:gapWidth val="59"/>
        <c:overlap val="100"/>
        <c:axId val="181373184"/>
        <c:axId val="181411840"/>
        <c:extLst/>
      </c:barChart>
      <c:catAx>
        <c:axId val="181373184"/>
        <c:scaling>
          <c:orientation val="minMax"/>
        </c:scaling>
        <c:delete val="0"/>
        <c:axPos val="l"/>
        <c:numFmt formatCode="General" sourceLinked="1"/>
        <c:majorTickMark val="out"/>
        <c:min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2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81411840"/>
        <c:crosses val="autoZero"/>
        <c:auto val="1"/>
        <c:lblAlgn val="ctr"/>
        <c:lblOffset val="100"/>
        <c:tickLblSkip val="1"/>
        <c:noMultiLvlLbl val="0"/>
      </c:catAx>
      <c:valAx>
        <c:axId val="181411840"/>
        <c:scaling>
          <c:orientation val="minMax"/>
        </c:scaling>
        <c:delete val="1"/>
        <c:axPos val="b"/>
        <c:numFmt formatCode="General" sourceLinked="1"/>
        <c:majorTickMark val="out"/>
        <c:minorTickMark val="none"/>
        <c:tickLblPos val="nextTo"/>
        <c:crossAx val="181373184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showDLblsOverMax val="0"/>
  </c:chart>
  <c:spPr>
    <a:noFill/>
    <a:ln>
      <a:noFill/>
    </a:ln>
    <a:effectLst/>
  </c:spPr>
  <c:txPr>
    <a:bodyPr/>
    <a:lstStyle/>
    <a:p>
      <a:pPr>
        <a:defRPr sz="2000" baseline="0"/>
      </a:pPr>
      <a:endParaRPr lang="ru-RU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ru-RU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>
        <c:manualLayout>
          <c:layoutTarget val="inner"/>
          <c:xMode val="edge"/>
          <c:yMode val="edge"/>
          <c:x val="4.333009666146416E-2"/>
          <c:y val="0"/>
          <c:w val="0.90152633558416406"/>
          <c:h val="0.997836670733749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chemeClr val="accent2"/>
              </a:solidFill>
            </c:spPr>
            <c:extLst>
              <c:ext xmlns:c16="http://schemas.microsoft.com/office/drawing/2014/chart" uri="{C3380CC4-5D6E-409C-BE32-E72D297353CC}">
                <c16:uniqueId val="{00000001-1566-4B9A-BE71-47E263F9E9C8}"/>
              </c:ext>
            </c:extLst>
          </c:dPt>
          <c:dPt>
            <c:idx val="1"/>
            <c:bubble3D val="0"/>
            <c:spPr>
              <a:solidFill>
                <a:schemeClr val="bg1"/>
              </a:solidFill>
            </c:spPr>
            <c:extLst>
              <c:ext xmlns:c16="http://schemas.microsoft.com/office/drawing/2014/chart" uri="{C3380CC4-5D6E-409C-BE32-E72D297353CC}">
                <c16:uniqueId val="{00000003-1566-4B9A-BE71-47E263F9E9C8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99</c:v>
                </c:pt>
                <c:pt idx="1">
                  <c:v>1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566-4B9A-BE71-47E263F9E9C8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  <c:holeSize val="7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ru-RU"/>
    </a:p>
  </c:txPr>
  <c:externalData r:id="rId1">
    <c:autoUpdate val="0"/>
  </c:externalData>
  <c:userShapes r:id="rId2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16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33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drawing1.xml><?xml version="1.0" encoding="utf-8"?>
<c:userShapes xmlns:c="http://schemas.openxmlformats.org/drawingml/2006/chart">
  <cdr:relSizeAnchor xmlns:cdr="http://schemas.openxmlformats.org/drawingml/2006/chartDrawing">
    <cdr:from>
      <cdr:x>0.19618</cdr:x>
      <cdr:y>0.20429</cdr:y>
    </cdr:from>
    <cdr:to>
      <cdr:x>0.77569</cdr:x>
      <cdr:y>0.79571</cdr:y>
    </cdr:to>
    <cdr:sp macro="" textlink="">
      <cdr:nvSpPr>
        <cdr:cNvPr id="2" name="TextBox 26"/>
        <cdr:cNvSpPr txBox="1"/>
      </cdr:nvSpPr>
      <cdr:spPr>
        <a:xfrm xmlns:a="http://schemas.openxmlformats.org/drawingml/2006/main">
          <a:off x="466175" y="414620"/>
          <a:ext cx="1377069" cy="1200329"/>
        </a:xfrm>
        <a:prstGeom xmlns:a="http://schemas.openxmlformats.org/drawingml/2006/main" prst="rect">
          <a:avLst/>
        </a:prstGeom>
        <a:noFill xmlns:a="http://schemas.openxmlformats.org/drawingml/2006/main"/>
      </cdr:spPr>
      <cdr:txBody>
        <a:bodyPr xmlns:a="http://schemas.openxmlformats.org/drawingml/2006/main" wrap="square" rtlCol="0" anchor="ctr">
          <a:spAutoFit/>
        </a:bodyPr>
        <a:lstStyle xmlns:a="http://schemas.openxmlformats.org/drawingml/2006/main">
          <a:defPPr>
            <a:defRPr lang="ko-KR"/>
          </a:defPPr>
          <a:lvl1pPr marL="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1pPr>
          <a:lvl2pPr marL="4572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2pPr>
          <a:lvl3pPr marL="9144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3pPr>
          <a:lvl4pPr marL="13716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4pPr>
          <a:lvl5pPr marL="18288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5pPr>
          <a:lvl6pPr marL="22860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6pPr>
          <a:lvl7pPr marL="27432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7pPr>
          <a:lvl8pPr marL="32004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8pPr>
          <a:lvl9pPr marL="3657600" algn="l" defTabSz="914400" rtl="0" eaLnBrk="1" latinLnBrk="1" hangingPunct="1">
            <a:defRPr sz="1800" kern="1200">
              <a:solidFill>
                <a:schemeClr val="tx1"/>
              </a:solidFill>
              <a:latin typeface="+mn-lt"/>
              <a:ea typeface="+mn-ea"/>
              <a:cs typeface="+mn-cs"/>
            </a:defRPr>
          </a:lvl9pPr>
        </a:lstStyle>
        <a:p xmlns:a="http://schemas.openxmlformats.org/drawingml/2006/main">
          <a:pPr algn="ctr"/>
          <a:r>
            <a:rPr lang="ru-RU" altLang="ko-KR" sz="2400" b="1" dirty="0">
              <a:solidFill>
                <a:schemeClr val="bg1"/>
              </a:solidFill>
              <a:cs typeface="Arial" pitchFamily="34" charset="0"/>
            </a:rPr>
            <a:t>менее</a:t>
          </a:r>
          <a:r>
            <a:rPr lang="ru-RU" altLang="ko-KR" sz="4800" b="1" dirty="0">
              <a:solidFill>
                <a:schemeClr val="bg1"/>
              </a:solidFill>
              <a:cs typeface="Arial" pitchFamily="34" charset="0"/>
            </a:rPr>
            <a:t>1</a:t>
          </a:r>
          <a:r>
            <a:rPr lang="en-US" altLang="ko-KR" sz="3200" b="1" dirty="0">
              <a:solidFill>
                <a:schemeClr val="bg1"/>
              </a:solidFill>
              <a:cs typeface="Arial" pitchFamily="34" charset="0"/>
            </a:rPr>
            <a:t>%</a:t>
          </a:r>
          <a:endParaRPr lang="ko-KR" altLang="en-US" sz="3200" b="1" dirty="0">
            <a:solidFill>
              <a:schemeClr val="bg1"/>
            </a:solidFill>
            <a:cs typeface="Arial" pitchFamily="34" charset="0"/>
          </a:endParaRPr>
        </a:p>
      </cdr:txBody>
    </cdr:sp>
  </cdr:relSizeAnchor>
</c:userShape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BC44E149-4C6C-44A6-81BE-95A1B367DC12}" type="datetimeFigureOut">
              <a:rPr lang="ru-RU" smtClean="0"/>
              <a:t>25.04.2022</a:t>
            </a:fld>
            <a:endParaRPr lang="ru-RU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ru-RU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ru-RU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D81B9226-53B2-496C-B078-E65C33B570A0}" type="slidenum">
              <a:rPr lang="ru-RU" smtClean="0"/>
              <a:t>‹#›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18068455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569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137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705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274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7842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411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6980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6548" algn="l" defTabSz="1219137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1B9226-53B2-496C-B078-E65C33B570A0}" type="slidenum">
              <a:rPr lang="ru-RU" smtClean="0"/>
              <a:t>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961764733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3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047595002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4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108704282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0264751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6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672831484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7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91000782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006BE02D-20C0-F840-AFAC-BEA99C74FDC2}" type="slidenum">
              <a:rPr lang="en-US" smtClean="0"/>
              <a:pPr/>
              <a:t>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20156486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06BE02D-20C0-F840-AFAC-BEA99C74FDC2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0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754744788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>
          <a:xfrm>
            <a:off x="422275" y="1241425"/>
            <a:ext cx="5953125" cy="3349625"/>
          </a:xfrm>
        </p:spPr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1B9226-53B2-496C-B078-E65C33B570A0}" type="slidenum">
              <a:rPr lang="ru-RU" smtClean="0"/>
              <a:t>21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2796716045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75697558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9112094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559886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1B9226-53B2-496C-B078-E65C33B570A0}" type="slidenum">
              <a:rPr lang="ru-RU" smtClean="0"/>
              <a:t>8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981012634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44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5" name="Google Shape;245;g35f391192_073:notes"/>
          <p:cNvSpPr>
            <a:spLocks noGrp="1" noRot="1" noChangeAspect="1"/>
          </p:cNvSpPr>
          <p:nvPr>
            <p:ph type="sldImg" idx="2"/>
          </p:nvPr>
        </p:nvSpPr>
        <p:spPr>
          <a:xfrm>
            <a:off x="-241300" y="798513"/>
            <a:ext cx="7097713" cy="3992562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46" name="Google Shape;246;g35f391192_073:notes"/>
          <p:cNvSpPr txBox="1">
            <a:spLocks noGrp="1"/>
          </p:cNvSpPr>
          <p:nvPr>
            <p:ph type="body" idx="1"/>
          </p:nvPr>
        </p:nvSpPr>
        <p:spPr>
          <a:xfrm>
            <a:off x="661571" y="5056701"/>
            <a:ext cx="5292563" cy="4790558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  <p:extLst>
      <p:ext uri="{BB962C8B-B14F-4D97-AF65-F5344CB8AC3E}">
        <p14:creationId xmlns:p14="http://schemas.microsoft.com/office/powerpoint/2010/main" val="1283421892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81B9226-53B2-496C-B078-E65C33B570A0}" type="slidenum">
              <a:rPr lang="ru-RU" smtClean="0"/>
              <a:t>10</a:t>
            </a:fld>
            <a:endParaRPr lang="ru-RU"/>
          </a:p>
        </p:txBody>
      </p:sp>
    </p:spTree>
    <p:extLst>
      <p:ext uri="{BB962C8B-B14F-4D97-AF65-F5344CB8AC3E}">
        <p14:creationId xmlns:p14="http://schemas.microsoft.com/office/powerpoint/2010/main" val="3693884646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619798162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81B9226-53B2-496C-B078-E65C33B570A0}" type="slidenum">
              <a:rPr kumimoji="0" lang="ru-RU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  <a:pPr marL="0" marR="0" lvl="0" indent="0" algn="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ru-RU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331723109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png"/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 ?><Relationships xmlns="http://schemas.openxmlformats.org/package/2006/relationships"><Relationship Id="rId3" Target="../tags/tag2.xml" Type="http://schemas.openxmlformats.org/officeDocument/2006/relationships/tags"/><Relationship Id="rId2" Target="../tags/tag1.xml" Type="http://schemas.openxmlformats.org/officeDocument/2006/relationships/tags"/><Relationship Id="rId6" Target="../media/image7.emf" Type="http://schemas.openxmlformats.org/officeDocument/2006/relationships/image"/><Relationship Id="rId5" Target="../media/image7.emf" Type="http://schemas.openxmlformats.org/officeDocument/2006/relationships/image"/><Relationship Id="rId4" Target="../slideMasters/slideMaster4.xml" Type="http://schemas.openxmlformats.org/officeDocument/2006/relationships/slideMaster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wmf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pn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6116" y="3392996"/>
            <a:ext cx="12192000" cy="1122108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3266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>
                <a:ea typeface="맑은 고딕" pitchFamily="50" charset="-127"/>
              </a:rPr>
              <a:t>FREE PPT TEMPLATES</a:t>
            </a:r>
            <a:endParaRPr lang="en-US" altLang="ko-KR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-197" y="5655229"/>
            <a:ext cx="12192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270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TERT THE TITLE</a:t>
            </a:r>
          </a:p>
          <a:p>
            <a:pPr lvl="0"/>
            <a:r>
              <a:rPr lang="en-US" altLang="ko-KR" dirty="0"/>
              <a:t>OF YOUR PRESENTATION HERE</a:t>
            </a:r>
            <a:endParaRPr lang="ko-KR" alt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" name="Rectangle 1"/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pic>
        <p:nvPicPr>
          <p:cNvPr id="4" name="Рисунок 3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377929" y="515164"/>
            <a:ext cx="2677493" cy="26263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62736505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5" y="1780478"/>
            <a:ext cx="1728192" cy="200270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5" y="4018574"/>
            <a:ext cx="1728192" cy="200270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2888347" y="1780476"/>
            <a:ext cx="9303654" cy="2002714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2888347" y="4018574"/>
            <a:ext cx="9303654" cy="2002714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1" y="1780476"/>
            <a:ext cx="682541" cy="20027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1" y="4018574"/>
            <a:ext cx="682541" cy="20027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381" y="431250"/>
            <a:ext cx="7663227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</a:t>
            </a:r>
            <a:r>
              <a:rPr lang="en-US" dirty="0"/>
              <a:t> </a:t>
            </a: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88549637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528206" y="7258"/>
            <a:ext cx="6672064" cy="28096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0" y="1628800"/>
            <a:ext cx="5303912" cy="38524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5528206" y="4052526"/>
            <a:ext cx="6672064" cy="2672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9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771326211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007768" y="-17115"/>
            <a:ext cx="4176464" cy="31220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592796"/>
            <a:ext cx="3840427" cy="26882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007768" y="3615573"/>
            <a:ext cx="4176464" cy="31220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8351573" y="2672916"/>
            <a:ext cx="3840427" cy="26882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9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2832264056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011" y="1508786"/>
            <a:ext cx="3799787" cy="4865561"/>
            <a:chOff x="354008" y="1131589"/>
            <a:chExt cx="2849840" cy="3649171"/>
          </a:xfrm>
        </p:grpSpPr>
        <p:sp>
          <p:nvSpPr>
            <p:cNvPr id="6" name="Rounded Rectangle 5"/>
            <p:cNvSpPr/>
            <p:nvPr/>
          </p:nvSpPr>
          <p:spPr>
            <a:xfrm>
              <a:off x="354008" y="1131589"/>
              <a:ext cx="2849840" cy="3649171"/>
            </a:xfrm>
            <a:prstGeom prst="roundRect">
              <a:avLst>
                <a:gd name="adj" fmla="val 3968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31932" y="1347500"/>
              <a:ext cx="108520" cy="324047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4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>
                <a:solidFill>
                  <a:schemeClr val="bg1"/>
                </a:solidFill>
              </a:endParaRPr>
            </a:p>
          </p:txBody>
        </p:sp>
        <p:sp>
          <p:nvSpPr>
            <p:cNvPr id="12" name="Half Frame 11"/>
            <p:cNvSpPr/>
            <p:nvPr/>
          </p:nvSpPr>
          <p:spPr>
            <a:xfrm rot="5400000">
              <a:off x="2592642" y="1238201"/>
              <a:ext cx="502331" cy="502331"/>
            </a:xfrm>
            <a:prstGeom prst="halfFrame">
              <a:avLst>
                <a:gd name="adj1" fmla="val 23728"/>
                <a:gd name="adj2" fmla="val 24642"/>
              </a:avLst>
            </a:prstGeom>
            <a:solidFill>
              <a:schemeClr val="bg1"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73818220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965172"/>
            <a:ext cx="12192000" cy="69006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3600" b="1" baseline="0">
                <a:latin typeface="+mn-lt"/>
                <a:cs typeface="Arial" pitchFamily="34" charset="0"/>
              </a:defRPr>
            </a:lvl1pPr>
          </a:lstStyle>
          <a:p>
            <a:r>
              <a:rPr lang="ru-RU" sz="2800" dirty="0">
                <a:solidFill>
                  <a:schemeClr val="accent6">
                    <a:lumMod val="50000"/>
                  </a:schemeClr>
                </a:solidFill>
              </a:rPr>
              <a:t>БУДЬ С НАМИ – ТОРГУЙ СО ВСЕМ МИРОМ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-197" y="5655229"/>
            <a:ext cx="12192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270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TERT THE TITLE</a:t>
            </a:r>
          </a:p>
          <a:p>
            <a:pPr lvl="0"/>
            <a:r>
              <a:rPr lang="en-US" altLang="ko-KR" dirty="0"/>
              <a:t>OF YOUR PRESENTATION HERE</a:t>
            </a:r>
            <a:endParaRPr lang="ko-KR" alt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" name="Rectangle 1"/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1039241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" name="Rectangle 1"/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420002767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Break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4" name="Group 3"/>
          <p:cNvGrpSpPr/>
          <p:nvPr userDrawn="1"/>
        </p:nvGrpSpPr>
        <p:grpSpPr>
          <a:xfrm>
            <a:off x="0" y="1796819"/>
            <a:ext cx="12192000" cy="3264362"/>
            <a:chOff x="0" y="1347614"/>
            <a:chExt cx="9144000" cy="2448272"/>
          </a:xfrm>
          <a:solidFill>
            <a:srgbClr val="649941">
              <a:alpha val="85000"/>
            </a:srgbClr>
          </a:solidFill>
        </p:grpSpPr>
        <p:sp>
          <p:nvSpPr>
            <p:cNvPr id="2" name="Rectangle 1"/>
            <p:cNvSpPr/>
            <p:nvPr userDrawn="1"/>
          </p:nvSpPr>
          <p:spPr>
            <a:xfrm>
              <a:off x="0" y="1347614"/>
              <a:ext cx="9144000" cy="244827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" name="Rectangle 2"/>
            <p:cNvSpPr/>
            <p:nvPr userDrawn="1"/>
          </p:nvSpPr>
          <p:spPr>
            <a:xfrm>
              <a:off x="0" y="1923678"/>
              <a:ext cx="9144000" cy="1224136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399"/>
            </a:p>
          </p:txBody>
        </p:sp>
      </p:grp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5684037" y="2874139"/>
            <a:ext cx="6507964" cy="631435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3266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SECTION BREAK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5684037" y="3505573"/>
            <a:ext cx="6507964" cy="384043"/>
          </a:xfrm>
          <a:prstGeom prst="rect">
            <a:avLst/>
          </a:prstGeom>
        </p:spPr>
        <p:txBody>
          <a:bodyPr anchor="ctr"/>
          <a:lstStyle>
            <a:lvl1pPr marL="0" indent="0" algn="l">
              <a:buNone/>
              <a:defRPr sz="127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1738235425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120" y="3018208"/>
            <a:ext cx="420272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0" y="4872527"/>
            <a:ext cx="2324353" cy="1993911"/>
            <a:chOff x="-2980" y="4872527"/>
            <a:chExt cx="2324353" cy="1993911"/>
          </a:xfrm>
        </p:grpSpPr>
        <p:sp>
          <p:nvSpPr>
            <p:cNvPr id="5" name="Rectangle 29"/>
            <p:cNvSpPr/>
            <p:nvPr/>
          </p:nvSpPr>
          <p:spPr>
            <a:xfrm>
              <a:off x="-2980" y="6174352"/>
              <a:ext cx="1127448" cy="69208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6" name="Rectangle 30"/>
            <p:cNvSpPr/>
            <p:nvPr/>
          </p:nvSpPr>
          <p:spPr>
            <a:xfrm>
              <a:off x="-2980" y="5661247"/>
              <a:ext cx="1130428" cy="41647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7" name="Rectangle 31"/>
            <p:cNvSpPr/>
            <p:nvPr/>
          </p:nvSpPr>
          <p:spPr>
            <a:xfrm>
              <a:off x="-2980" y="4872527"/>
              <a:ext cx="682541" cy="692086"/>
            </a:xfrm>
            <a:prstGeom prst="rect">
              <a:avLst/>
            </a:prstGeom>
            <a:solidFill>
              <a:schemeClr val="accent3">
                <a:lumMod val="60000"/>
                <a:lumOff val="4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8" name="Rectangle 31"/>
            <p:cNvSpPr/>
            <p:nvPr/>
          </p:nvSpPr>
          <p:spPr>
            <a:xfrm>
              <a:off x="1219936" y="5669686"/>
              <a:ext cx="538834" cy="1196752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9" name="Rectangle 30"/>
            <p:cNvSpPr/>
            <p:nvPr/>
          </p:nvSpPr>
          <p:spPr>
            <a:xfrm>
              <a:off x="1854238" y="6174352"/>
              <a:ext cx="467135" cy="6920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962546267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G:\002-KIMS BUSINESS\007-02-Googleslidesppt\02-GSppt-Contents-Kim\20170429\07-\item0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82" y="2170883"/>
            <a:ext cx="3370352" cy="337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24118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grpSp>
        <p:nvGrpSpPr>
          <p:cNvPr id="23" name="Group 2">
            <a:extLst>
              <a:ext uri="{FF2B5EF4-FFF2-40B4-BE49-F238E27FC236}">
                <a16:creationId xmlns:a16="http://schemas.microsoft.com/office/drawing/2014/main" id="{75A1F0C8-ADE8-49C0-9621-BADA30C5AA62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4" name="Rectangle 1">
              <a:extLst>
                <a:ext uri="{FF2B5EF4-FFF2-40B4-BE49-F238E27FC236}">
                  <a16:creationId xmlns:a16="http://schemas.microsoft.com/office/drawing/2014/main" id="{F8E22D68-A56D-46FD-BC42-93B4EAE80021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8D24A598-D874-4C08-BEA7-301F153CADDB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53A13DC6-0EDF-4A8E-8E4D-81768F1DF80B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7" name="Rectangle 8">
              <a:extLst>
                <a:ext uri="{FF2B5EF4-FFF2-40B4-BE49-F238E27FC236}">
                  <a16:creationId xmlns:a16="http://schemas.microsoft.com/office/drawing/2014/main" id="{F2E441BD-7BE9-4A75-9DB5-735EC46026C2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8" name="Rectangle 11">
              <a:extLst>
                <a:ext uri="{FF2B5EF4-FFF2-40B4-BE49-F238E27FC236}">
                  <a16:creationId xmlns:a16="http://schemas.microsoft.com/office/drawing/2014/main" id="{C0BF37B3-A371-4645-A8AB-6294FA0012B1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9" name="Rectangle 12">
              <a:extLst>
                <a:ext uri="{FF2B5EF4-FFF2-40B4-BE49-F238E27FC236}">
                  <a16:creationId xmlns:a16="http://schemas.microsoft.com/office/drawing/2014/main" id="{D1F581C4-49C2-4733-8878-B70E3BB3F716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0" name="Rectangle 13">
              <a:extLst>
                <a:ext uri="{FF2B5EF4-FFF2-40B4-BE49-F238E27FC236}">
                  <a16:creationId xmlns:a16="http://schemas.microsoft.com/office/drawing/2014/main" id="{0562264D-B2F2-4788-B47F-5919F0A03323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1" name="Rectangle 14">
              <a:extLst>
                <a:ext uri="{FF2B5EF4-FFF2-40B4-BE49-F238E27FC236}">
                  <a16:creationId xmlns:a16="http://schemas.microsoft.com/office/drawing/2014/main" id="{1D2413AA-E9C9-4063-A40F-31C3653DDF8F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98EE8A88-944E-4EAF-802A-76F8CA0050AD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3" name="Rectangle 16">
              <a:extLst>
                <a:ext uri="{FF2B5EF4-FFF2-40B4-BE49-F238E27FC236}">
                  <a16:creationId xmlns:a16="http://schemas.microsoft.com/office/drawing/2014/main" id="{0A2BE1D3-6B9D-4BA7-AAC7-928A6AA44D80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76E8FCF-68A2-4B49-93A1-8F3AE723DA83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5" name="Rectangle 18">
              <a:extLst>
                <a:ext uri="{FF2B5EF4-FFF2-40B4-BE49-F238E27FC236}">
                  <a16:creationId xmlns:a16="http://schemas.microsoft.com/office/drawing/2014/main" id="{E38FF078-492E-46D5-B6EE-4FF39A801B41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19">
              <a:extLst>
                <a:ext uri="{FF2B5EF4-FFF2-40B4-BE49-F238E27FC236}">
                  <a16:creationId xmlns:a16="http://schemas.microsoft.com/office/drawing/2014/main" id="{CE554615-93B8-4E75-BBD0-67603689B6A1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20">
              <a:extLst>
                <a:ext uri="{FF2B5EF4-FFF2-40B4-BE49-F238E27FC236}">
                  <a16:creationId xmlns:a16="http://schemas.microsoft.com/office/drawing/2014/main" id="{AC36994E-976C-4B08-8784-AAC20FDF60E3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21">
              <a:extLst>
                <a:ext uri="{FF2B5EF4-FFF2-40B4-BE49-F238E27FC236}">
                  <a16:creationId xmlns:a16="http://schemas.microsoft.com/office/drawing/2014/main" id="{7EEBE4CE-D8B6-495B-ACCE-C188E8DF4878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22">
              <a:extLst>
                <a:ext uri="{FF2B5EF4-FFF2-40B4-BE49-F238E27FC236}">
                  <a16:creationId xmlns:a16="http://schemas.microsoft.com/office/drawing/2014/main" id="{FD50BD70-C637-458B-8952-261DED7CC717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2607042077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965172"/>
            <a:ext cx="12192000" cy="690060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3266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>
                <a:ea typeface="맑은 고딕" pitchFamily="50" charset="-127"/>
              </a:rPr>
              <a:t>FREE PPT TEMPLATES</a:t>
            </a:r>
            <a:endParaRPr lang="en-US" altLang="ko-KR" dirty="0"/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-197" y="5655229"/>
            <a:ext cx="12192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lnSpc>
                <a:spcPct val="100000"/>
              </a:lnSpc>
              <a:buNone/>
              <a:defRPr sz="1270" b="1" baseline="0"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TERT THE TITLE</a:t>
            </a:r>
          </a:p>
          <a:p>
            <a:pPr lvl="0"/>
            <a:r>
              <a:rPr lang="en-US" altLang="ko-KR" dirty="0"/>
              <a:t>OF YOUR PRESENTATION HERE</a:t>
            </a:r>
            <a:endParaRPr lang="ko-KR" altLang="en-US" dirty="0"/>
          </a:p>
        </p:txBody>
      </p:sp>
      <p:grpSp>
        <p:nvGrpSpPr>
          <p:cNvPr id="3" name="Group 2"/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" name="Rectangle 1"/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159957780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143339" y="164637"/>
            <a:ext cx="11905322" cy="6528726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6064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2873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645863286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43339" y="1508787"/>
            <a:ext cx="11905322" cy="5184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</p:spTree>
    <p:extLst>
      <p:ext uri="{BB962C8B-B14F-4D97-AF65-F5344CB8AC3E}">
        <p14:creationId xmlns:p14="http://schemas.microsoft.com/office/powerpoint/2010/main" val="406466368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4" y="3456548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4" y="4529179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911425" y="5600931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911424" y="2393699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3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911424" y="1321955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2888346" y="3456548"/>
            <a:ext cx="9303654" cy="924412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2888346" y="4529181"/>
            <a:ext cx="9303654" cy="924413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9" name="Rectangle 28"/>
          <p:cNvSpPr/>
          <p:nvPr userDrawn="1"/>
        </p:nvSpPr>
        <p:spPr>
          <a:xfrm>
            <a:off x="2888347" y="5600932"/>
            <a:ext cx="9303654" cy="92441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1" name="Rectangle 27"/>
          <p:cNvSpPr/>
          <p:nvPr userDrawn="1"/>
        </p:nvSpPr>
        <p:spPr>
          <a:xfrm>
            <a:off x="2888346" y="2393701"/>
            <a:ext cx="9303654" cy="924412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4" name="Rectangle 28"/>
          <p:cNvSpPr/>
          <p:nvPr userDrawn="1"/>
        </p:nvSpPr>
        <p:spPr>
          <a:xfrm>
            <a:off x="2888346" y="1321956"/>
            <a:ext cx="9303654" cy="92441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0" y="3461444"/>
            <a:ext cx="682541" cy="924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0" y="4531188"/>
            <a:ext cx="682541" cy="924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2" name="Rectangle 31"/>
          <p:cNvSpPr/>
          <p:nvPr userDrawn="1"/>
        </p:nvSpPr>
        <p:spPr>
          <a:xfrm>
            <a:off x="0" y="5600932"/>
            <a:ext cx="682541" cy="924412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2" name="Rectangle 30"/>
          <p:cNvSpPr/>
          <p:nvPr userDrawn="1"/>
        </p:nvSpPr>
        <p:spPr>
          <a:xfrm>
            <a:off x="0" y="2391700"/>
            <a:ext cx="682541" cy="924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5" name="Rectangle 31"/>
          <p:cNvSpPr/>
          <p:nvPr userDrawn="1"/>
        </p:nvSpPr>
        <p:spPr>
          <a:xfrm>
            <a:off x="0" y="1321956"/>
            <a:ext cx="682541" cy="924412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</p:spTree>
    <p:extLst>
      <p:ext uri="{BB962C8B-B14F-4D97-AF65-F5344CB8AC3E}">
        <p14:creationId xmlns:p14="http://schemas.microsoft.com/office/powerpoint/2010/main" val="2956182633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1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5" y="1780478"/>
            <a:ext cx="1728192" cy="200270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5" y="4018574"/>
            <a:ext cx="1728192" cy="2002704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2888347" y="1780476"/>
            <a:ext cx="9303654" cy="2002714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2888347" y="4018574"/>
            <a:ext cx="9303654" cy="2002714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1" y="1780476"/>
            <a:ext cx="682541" cy="200271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1" y="4018574"/>
            <a:ext cx="682541" cy="200271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50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381" y="431250"/>
            <a:ext cx="7663227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</a:t>
            </a:r>
            <a:r>
              <a:rPr lang="en-US" dirty="0"/>
              <a:t> </a:t>
            </a: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127474615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4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5528206" y="7258"/>
            <a:ext cx="6672064" cy="2809673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0" y="1628800"/>
            <a:ext cx="5303912" cy="385242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6" hasCustomPrompt="1"/>
          </p:nvPr>
        </p:nvSpPr>
        <p:spPr>
          <a:xfrm>
            <a:off x="5528206" y="4052526"/>
            <a:ext cx="6672064" cy="2672916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9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10709873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4007768" y="-17115"/>
            <a:ext cx="4176464" cy="31220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6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0" y="1592796"/>
            <a:ext cx="3840427" cy="26882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4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4007768" y="3615573"/>
            <a:ext cx="4176464" cy="3122079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7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8351573" y="2672916"/>
            <a:ext cx="3840427" cy="268829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grpSp>
        <p:nvGrpSpPr>
          <p:cNvPr id="8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9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10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1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4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3062929157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CON SETS LAYOUT</a:t>
            </a:r>
          </a:p>
        </p:txBody>
      </p:sp>
      <p:grpSp>
        <p:nvGrpSpPr>
          <p:cNvPr id="5" name="Group 4"/>
          <p:cNvGrpSpPr/>
          <p:nvPr userDrawn="1"/>
        </p:nvGrpSpPr>
        <p:grpSpPr>
          <a:xfrm>
            <a:off x="472011" y="1508786"/>
            <a:ext cx="3799787" cy="4865561"/>
            <a:chOff x="354008" y="1131589"/>
            <a:chExt cx="2849840" cy="3649171"/>
          </a:xfrm>
        </p:grpSpPr>
        <p:sp>
          <p:nvSpPr>
            <p:cNvPr id="6" name="Rounded Rectangle 5"/>
            <p:cNvSpPr/>
            <p:nvPr/>
          </p:nvSpPr>
          <p:spPr>
            <a:xfrm>
              <a:off x="354008" y="1131589"/>
              <a:ext cx="2849840" cy="3649171"/>
            </a:xfrm>
            <a:prstGeom prst="roundRect">
              <a:avLst>
                <a:gd name="adj" fmla="val 3968"/>
              </a:avLst>
            </a:prstGeom>
            <a:solidFill>
              <a:schemeClr val="accent1">
                <a:alpha val="8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 dirty="0"/>
            </a:p>
          </p:txBody>
        </p:sp>
        <p:sp>
          <p:nvSpPr>
            <p:cNvPr id="9" name="Rounded Rectangle 8"/>
            <p:cNvSpPr/>
            <p:nvPr/>
          </p:nvSpPr>
          <p:spPr>
            <a:xfrm>
              <a:off x="531932" y="1347500"/>
              <a:ext cx="108520" cy="3240473"/>
            </a:xfrm>
            <a:prstGeom prst="roundRect">
              <a:avLst>
                <a:gd name="adj" fmla="val 50000"/>
              </a:avLst>
            </a:prstGeom>
            <a:solidFill>
              <a:schemeClr val="bg1">
                <a:alpha val="41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>
                <a:solidFill>
                  <a:schemeClr val="bg1"/>
                </a:solidFill>
              </a:endParaRPr>
            </a:p>
          </p:txBody>
        </p:sp>
        <p:sp>
          <p:nvSpPr>
            <p:cNvPr id="12" name="Half Frame 11"/>
            <p:cNvSpPr/>
            <p:nvPr/>
          </p:nvSpPr>
          <p:spPr>
            <a:xfrm rot="5400000">
              <a:off x="2592642" y="1238201"/>
              <a:ext cx="502331" cy="502331"/>
            </a:xfrm>
            <a:prstGeom prst="halfFrame">
              <a:avLst>
                <a:gd name="adj1" fmla="val 23728"/>
                <a:gd name="adj2" fmla="val 24642"/>
              </a:avLst>
            </a:prstGeom>
            <a:solidFill>
              <a:schemeClr val="bg1">
                <a:alpha val="23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>
                <a:solidFill>
                  <a:schemeClr val="tx1"/>
                </a:solidFill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7371239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6_Basic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3" name="Group 2">
            <a:extLst>
              <a:ext uri="{FF2B5EF4-FFF2-40B4-BE49-F238E27FC236}">
                <a16:creationId xmlns:a16="http://schemas.microsoft.com/office/drawing/2014/main" id="{75A1F0C8-ADE8-49C0-9621-BADA30C5AA62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4" name="Rectangle 1">
              <a:extLst>
                <a:ext uri="{FF2B5EF4-FFF2-40B4-BE49-F238E27FC236}">
                  <a16:creationId xmlns:a16="http://schemas.microsoft.com/office/drawing/2014/main" id="{F8E22D68-A56D-46FD-BC42-93B4EAE80021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8D24A598-D874-4C08-BEA7-301F153CADDB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53A13DC6-0EDF-4A8E-8E4D-81768F1DF80B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7" name="Rectangle 8">
              <a:extLst>
                <a:ext uri="{FF2B5EF4-FFF2-40B4-BE49-F238E27FC236}">
                  <a16:creationId xmlns:a16="http://schemas.microsoft.com/office/drawing/2014/main" id="{F2E441BD-7BE9-4A75-9DB5-735EC46026C2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8" name="Rectangle 11">
              <a:extLst>
                <a:ext uri="{FF2B5EF4-FFF2-40B4-BE49-F238E27FC236}">
                  <a16:creationId xmlns:a16="http://schemas.microsoft.com/office/drawing/2014/main" id="{C0BF37B3-A371-4645-A8AB-6294FA0012B1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9" name="Rectangle 12">
              <a:extLst>
                <a:ext uri="{FF2B5EF4-FFF2-40B4-BE49-F238E27FC236}">
                  <a16:creationId xmlns:a16="http://schemas.microsoft.com/office/drawing/2014/main" id="{D1F581C4-49C2-4733-8878-B70E3BB3F716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0" name="Rectangle 13">
              <a:extLst>
                <a:ext uri="{FF2B5EF4-FFF2-40B4-BE49-F238E27FC236}">
                  <a16:creationId xmlns:a16="http://schemas.microsoft.com/office/drawing/2014/main" id="{0562264D-B2F2-4788-B47F-5919F0A03323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1" name="Rectangle 14">
              <a:extLst>
                <a:ext uri="{FF2B5EF4-FFF2-40B4-BE49-F238E27FC236}">
                  <a16:creationId xmlns:a16="http://schemas.microsoft.com/office/drawing/2014/main" id="{1D2413AA-E9C9-4063-A40F-31C3653DDF8F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98EE8A88-944E-4EAF-802A-76F8CA0050AD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3" name="Rectangle 16">
              <a:extLst>
                <a:ext uri="{FF2B5EF4-FFF2-40B4-BE49-F238E27FC236}">
                  <a16:creationId xmlns:a16="http://schemas.microsoft.com/office/drawing/2014/main" id="{0A2BE1D3-6B9D-4BA7-AAC7-928A6AA44D80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76E8FCF-68A2-4B49-93A1-8F3AE723DA83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5" name="Rectangle 18">
              <a:extLst>
                <a:ext uri="{FF2B5EF4-FFF2-40B4-BE49-F238E27FC236}">
                  <a16:creationId xmlns:a16="http://schemas.microsoft.com/office/drawing/2014/main" id="{E38FF078-492E-46D5-B6EE-4FF39A801B41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19">
              <a:extLst>
                <a:ext uri="{FF2B5EF4-FFF2-40B4-BE49-F238E27FC236}">
                  <a16:creationId xmlns:a16="http://schemas.microsoft.com/office/drawing/2014/main" id="{CE554615-93B8-4E75-BBD0-67603689B6A1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20">
              <a:extLst>
                <a:ext uri="{FF2B5EF4-FFF2-40B4-BE49-F238E27FC236}">
                  <a16:creationId xmlns:a16="http://schemas.microsoft.com/office/drawing/2014/main" id="{AC36994E-976C-4B08-8784-AAC20FDF60E3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21">
              <a:extLst>
                <a:ext uri="{FF2B5EF4-FFF2-40B4-BE49-F238E27FC236}">
                  <a16:creationId xmlns:a16="http://schemas.microsoft.com/office/drawing/2014/main" id="{7EEBE4CE-D8B6-495B-ACCE-C188E8DF4878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22">
              <a:extLst>
                <a:ext uri="{FF2B5EF4-FFF2-40B4-BE49-F238E27FC236}">
                  <a16:creationId xmlns:a16="http://schemas.microsoft.com/office/drawing/2014/main" id="{FD50BD70-C637-458B-8952-261DED7CC717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21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974381" y="431250"/>
            <a:ext cx="7663227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</a:t>
            </a:r>
            <a:r>
              <a:rPr lang="en-US" dirty="0"/>
              <a:t> </a:t>
            </a:r>
            <a:r>
              <a:rPr lang="ru-RU" dirty="0"/>
              <a:t>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133678045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Cover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" name="Group 2"/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" name="Rectangle 1"/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8" name="Rectangle 7"/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9" name="Rectangle 8"/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2" name="Rectangle 11"/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3" name="Rectangle 12"/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4" name="Rectangle 13"/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5" name="Rectangle 14"/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6" name="Rectangle 15"/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7" name="Rectangle 16"/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8" name="Rectangle 17"/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19" name="Rectangle 18"/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0" name="Rectangle 19"/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1" name="Rectangle 20"/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2" name="Rectangle 21"/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3" name="Rectangle 22"/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543916571"/>
      </p:ext>
    </p:extLst>
  </p:cSld>
  <p:clrMapOvr>
    <a:masterClrMapping/>
  </p:clrMapOvr>
</p:sldLayout>
</file>

<file path=ppt/slideLayouts/slideLayout29.xml><?xml version="1.0" encoding="utf-8"?>
<p:sldLayout xmlns:p="http://schemas.openxmlformats.org/presentationml/2006/main" xmlns:a="http://schemas.openxmlformats.org/drawingml/2006/main" xmlns:r="http://schemas.openxmlformats.org/officeDocument/2006/relationships" userDrawn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Объект 6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hidden="1" id="6" name="Прямоугольник 5">
            <a:extLst>
              <a:ext uri="{FF2B5EF4-FFF2-40B4-BE49-F238E27FC236}">
                <a16:creationId xmlns:a16="http://schemas.microsoft.com/office/drawing/2014/main" id="{B35363B4-9396-41AF-95BE-7724E5F1F5AD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58750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 anchorCtr="0" bIns="0" lIns="0" numCol="1" rIns="0" rtlCol="0" spcCol="0" tIns="0" wrap="none">
            <a:noAutofit/>
          </a:bodyPr>
          <a:lstStyle/>
          <a:p>
            <a:pPr algn="ctr" indent="0" lvl="0" marL="0"/>
            <a:endParaRPr b="0" baseline="0" dirty="0" i="0" lang="ru-RU" sz="4400">
              <a:latin charset="0" panose="020B0604020202020204" pitchFamily="34" typeface="Arial"/>
              <a:ea charset="0" pitchFamily="2" typeface="Roboto"/>
              <a:cs typeface="+mj-cs"/>
              <a:sym charset="0" pitchFamily="2" typeface="Roboto"/>
            </a:endParaRPr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id="{185499E2-195F-4532-B482-6C295FF8804A}"/>
              </a:ext>
            </a:extLst>
          </p:cNvPr>
          <p:cNvSpPr>
            <a:spLocks noGrp="1"/>
          </p:cNvSpPr>
          <p:nvPr>
            <p:ph idx="12" sz="quarter" type="sldNum"/>
          </p:nvPr>
        </p:nvSpPr>
        <p:spPr>
          <a:xfrm>
            <a:off x="41566" y="6443625"/>
            <a:ext cx="581891" cy="365125"/>
          </a:xfrm>
          <a:prstGeom prst="rect">
            <a:avLst/>
          </a:prstGeom>
        </p:spPr>
        <p:txBody>
          <a:bodyPr/>
          <a:lstStyle>
            <a:lvl1pPr>
              <a:defRPr>
                <a:latin charset="0" panose="020B0604020202020204" pitchFamily="34" typeface="Arial"/>
                <a:ea charset="0" pitchFamily="2" typeface="Roboto"/>
                <a:sym charset="0" pitchFamily="2" typeface="Roboto"/>
              </a:defRPr>
            </a:lvl1pPr>
          </a:lstStyle>
          <a:p>
            <a:fld id="{22FE9C12-D545-408B-9FDB-1FFB5DF871A8}" type="slidenum">
              <a:rPr lang="ru-RU" smtClean="0"/>
              <a:pPr/>
              <a:t>‹#›</a:t>
            </a:fld>
            <a:endParaRPr dirty="0" lang="ru-RU"/>
          </a:p>
        </p:txBody>
      </p:sp>
      <p:sp>
        <p:nvSpPr>
          <p:cNvPr id="8" name="Заголовок 1">
            <a:extLst>
              <a:ext uri="{FF2B5EF4-FFF2-40B4-BE49-F238E27FC236}">
                <a16:creationId xmlns:a16="http://schemas.microsoft.com/office/drawing/2014/main" id="{4A519EF3-6113-4C60-B221-E47C3665221E}"/>
              </a:ext>
            </a:extLst>
          </p:cNvPr>
          <p:cNvSpPr>
            <a:spLocks noGrp="1"/>
          </p:cNvSpPr>
          <p:nvPr>
            <p:ph hasCustomPrompt="1" type="title"/>
          </p:nvPr>
        </p:nvSpPr>
        <p:spPr>
          <a:xfrm>
            <a:off x="124691" y="1419202"/>
            <a:ext cx="2982731" cy="1325563"/>
          </a:xfrm>
        </p:spPr>
        <p:txBody>
          <a:bodyPr/>
          <a:lstStyle>
            <a:lvl1pPr>
              <a:defRPr>
                <a:latin charset="0" panose="020B0604020202020204" pitchFamily="34" typeface="Arial"/>
                <a:ea charset="0" pitchFamily="2" typeface="Roboto"/>
                <a:sym charset="0" pitchFamily="2" typeface="Roboto"/>
              </a:defRPr>
            </a:lvl1pPr>
          </a:lstStyle>
          <a:p>
            <a:r>
              <a:rPr dirty="0" lang="ru-RU"/>
              <a:t>ОБРАЗЕЦ ЗАГОЛОВКА</a:t>
            </a:r>
          </a:p>
        </p:txBody>
      </p:sp>
    </p:spTree>
    <p:extLst>
      <p:ext uri="{BB962C8B-B14F-4D97-AF65-F5344CB8AC3E}">
        <p14:creationId xmlns:p14="http://schemas.microsoft.com/office/powerpoint/2010/main" val="267281600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5" name="Group 4"/>
          <p:cNvGrpSpPr/>
          <p:nvPr userDrawn="1"/>
        </p:nvGrpSpPr>
        <p:grpSpPr>
          <a:xfrm>
            <a:off x="3023659" y="0"/>
            <a:ext cx="6144683" cy="6858000"/>
            <a:chOff x="0" y="1347614"/>
            <a:chExt cx="9144000" cy="2448272"/>
          </a:xfrm>
          <a:solidFill>
            <a:srgbClr val="649941">
              <a:alpha val="85000"/>
            </a:srgbClr>
          </a:solidFill>
        </p:grpSpPr>
        <p:sp>
          <p:nvSpPr>
            <p:cNvPr id="6" name="Rectangle 5"/>
            <p:cNvSpPr/>
            <p:nvPr userDrawn="1"/>
          </p:nvSpPr>
          <p:spPr>
            <a:xfrm>
              <a:off x="0" y="1347614"/>
              <a:ext cx="9144000" cy="2448272"/>
            </a:xfrm>
            <a:prstGeom prst="rect">
              <a:avLst/>
            </a:prstGeom>
            <a:solidFill>
              <a:schemeClr val="accent1">
                <a:alpha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7" name="Rectangle 6"/>
            <p:cNvSpPr/>
            <p:nvPr userDrawn="1"/>
          </p:nvSpPr>
          <p:spPr>
            <a:xfrm>
              <a:off x="2286000" y="1347614"/>
              <a:ext cx="4572000" cy="2448272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lvl="0" algn="ctr"/>
              <a:endParaRPr lang="en-US" sz="2399"/>
            </a:p>
          </p:txBody>
        </p:sp>
      </p:grp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4485118"/>
            <a:ext cx="12192000" cy="76808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Thank you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-197" y="5253202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22477153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4" y="4102679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4" y="5049180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911425" y="5979782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911424" y="3178970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3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911424" y="2235366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3215678" y="4102680"/>
            <a:ext cx="8976322" cy="761584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3215678" y="5049183"/>
            <a:ext cx="8976322" cy="761585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9" name="Rectangle 28"/>
          <p:cNvSpPr/>
          <p:nvPr userDrawn="1"/>
        </p:nvSpPr>
        <p:spPr>
          <a:xfrm>
            <a:off x="3215679" y="5979784"/>
            <a:ext cx="8976321" cy="761584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1" name="Rectangle 27"/>
          <p:cNvSpPr/>
          <p:nvPr userDrawn="1"/>
        </p:nvSpPr>
        <p:spPr>
          <a:xfrm>
            <a:off x="3215678" y="3178973"/>
            <a:ext cx="8976322" cy="761584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4" name="Rectangle 28"/>
          <p:cNvSpPr/>
          <p:nvPr userDrawn="1"/>
        </p:nvSpPr>
        <p:spPr>
          <a:xfrm>
            <a:off x="3251684" y="2235368"/>
            <a:ext cx="8940316" cy="761584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0" y="4107576"/>
            <a:ext cx="682541" cy="7615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0" y="5051190"/>
            <a:ext cx="682541" cy="761585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2" name="Rectangle 31"/>
          <p:cNvSpPr/>
          <p:nvPr userDrawn="1"/>
        </p:nvSpPr>
        <p:spPr>
          <a:xfrm>
            <a:off x="0" y="5979784"/>
            <a:ext cx="682541" cy="761584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2" name="Rectangle 30"/>
          <p:cNvSpPr/>
          <p:nvPr userDrawn="1"/>
        </p:nvSpPr>
        <p:spPr>
          <a:xfrm>
            <a:off x="0" y="3176972"/>
            <a:ext cx="682541" cy="761584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5" name="Rectangle 31"/>
          <p:cNvSpPr/>
          <p:nvPr userDrawn="1"/>
        </p:nvSpPr>
        <p:spPr>
          <a:xfrm>
            <a:off x="0" y="2235368"/>
            <a:ext cx="682541" cy="761584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6" name="Picture Placeholder 2">
            <a:extLst>
              <a:ext uri="{FF2B5EF4-FFF2-40B4-BE49-F238E27FC236}">
                <a16:creationId xmlns:a16="http://schemas.microsoft.com/office/drawing/2014/main" id="{4988204C-E768-4710-BF49-0E2B5AB5A698}"/>
              </a:ext>
            </a:extLst>
          </p:cNvPr>
          <p:cNvSpPr>
            <a:spLocks noGrp="1"/>
          </p:cNvSpPr>
          <p:nvPr>
            <p:ph type="pic" idx="16" hasCustomPrompt="1"/>
          </p:nvPr>
        </p:nvSpPr>
        <p:spPr>
          <a:xfrm>
            <a:off x="921532" y="1294367"/>
            <a:ext cx="1728192" cy="761580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7" name="Rectangle 26">
            <a:extLst>
              <a:ext uri="{FF2B5EF4-FFF2-40B4-BE49-F238E27FC236}">
                <a16:creationId xmlns:a16="http://schemas.microsoft.com/office/drawing/2014/main" id="{1F97A3C0-7A54-428E-8FF2-B993D93844F8}"/>
              </a:ext>
            </a:extLst>
          </p:cNvPr>
          <p:cNvSpPr/>
          <p:nvPr userDrawn="1"/>
        </p:nvSpPr>
        <p:spPr>
          <a:xfrm>
            <a:off x="3215680" y="1294368"/>
            <a:ext cx="8986428" cy="761584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8" name="Rectangle 29">
            <a:extLst>
              <a:ext uri="{FF2B5EF4-FFF2-40B4-BE49-F238E27FC236}">
                <a16:creationId xmlns:a16="http://schemas.microsoft.com/office/drawing/2014/main" id="{81BE9D75-69EE-43D7-B139-0C3FE9973C5E}"/>
              </a:ext>
            </a:extLst>
          </p:cNvPr>
          <p:cNvSpPr/>
          <p:nvPr userDrawn="1"/>
        </p:nvSpPr>
        <p:spPr>
          <a:xfrm>
            <a:off x="10108" y="1299264"/>
            <a:ext cx="682541" cy="7615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9" name="Oval 4">
            <a:extLst>
              <a:ext uri="{FF2B5EF4-FFF2-40B4-BE49-F238E27FC236}">
                <a16:creationId xmlns:a16="http://schemas.microsoft.com/office/drawing/2014/main" id="{8B5A14C4-BA76-4C6C-927C-24A28C000CBF}"/>
              </a:ext>
            </a:extLst>
          </p:cNvPr>
          <p:cNvSpPr/>
          <p:nvPr userDrawn="1"/>
        </p:nvSpPr>
        <p:spPr>
          <a:xfrm>
            <a:off x="2881698" y="1294367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0" name="TextBox 59">
            <a:extLst>
              <a:ext uri="{FF2B5EF4-FFF2-40B4-BE49-F238E27FC236}">
                <a16:creationId xmlns:a16="http://schemas.microsoft.com/office/drawing/2014/main" id="{5F835163-CCC0-4546-8425-A1443ED0ABB2}"/>
              </a:ext>
            </a:extLst>
          </p:cNvPr>
          <p:cNvSpPr txBox="1"/>
          <p:nvPr userDrawn="1"/>
        </p:nvSpPr>
        <p:spPr>
          <a:xfrm>
            <a:off x="3009575" y="1415681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1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1" name="Oval 4">
            <a:extLst>
              <a:ext uri="{FF2B5EF4-FFF2-40B4-BE49-F238E27FC236}">
                <a16:creationId xmlns:a16="http://schemas.microsoft.com/office/drawing/2014/main" id="{0D97B66B-19C5-49CC-9E77-DCCCCCD009B9}"/>
              </a:ext>
            </a:extLst>
          </p:cNvPr>
          <p:cNvSpPr/>
          <p:nvPr userDrawn="1"/>
        </p:nvSpPr>
        <p:spPr>
          <a:xfrm>
            <a:off x="2868499" y="2234447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2" name="TextBox 61">
            <a:extLst>
              <a:ext uri="{FF2B5EF4-FFF2-40B4-BE49-F238E27FC236}">
                <a16:creationId xmlns:a16="http://schemas.microsoft.com/office/drawing/2014/main" id="{B8F6FDE0-93E5-4797-A68A-66A1BE321B99}"/>
              </a:ext>
            </a:extLst>
          </p:cNvPr>
          <p:cNvSpPr txBox="1"/>
          <p:nvPr userDrawn="1"/>
        </p:nvSpPr>
        <p:spPr>
          <a:xfrm>
            <a:off x="2996376" y="2355761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2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3" name="Oval 4">
            <a:extLst>
              <a:ext uri="{FF2B5EF4-FFF2-40B4-BE49-F238E27FC236}">
                <a16:creationId xmlns:a16="http://schemas.microsoft.com/office/drawing/2014/main" id="{18E3CCEA-26B2-4836-8C99-548F83A059A9}"/>
              </a:ext>
            </a:extLst>
          </p:cNvPr>
          <p:cNvSpPr/>
          <p:nvPr userDrawn="1"/>
        </p:nvSpPr>
        <p:spPr>
          <a:xfrm>
            <a:off x="2868499" y="3175273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4" name="TextBox 63">
            <a:extLst>
              <a:ext uri="{FF2B5EF4-FFF2-40B4-BE49-F238E27FC236}">
                <a16:creationId xmlns:a16="http://schemas.microsoft.com/office/drawing/2014/main" id="{0D20B82B-20F1-4E6F-99C9-9EC81F4675D0}"/>
              </a:ext>
            </a:extLst>
          </p:cNvPr>
          <p:cNvSpPr txBox="1"/>
          <p:nvPr userDrawn="1"/>
        </p:nvSpPr>
        <p:spPr>
          <a:xfrm>
            <a:off x="2996376" y="3296587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3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5" name="Oval 4">
            <a:extLst>
              <a:ext uri="{FF2B5EF4-FFF2-40B4-BE49-F238E27FC236}">
                <a16:creationId xmlns:a16="http://schemas.microsoft.com/office/drawing/2014/main" id="{F641E02D-D705-4426-A64C-AF2D09D93631}"/>
              </a:ext>
            </a:extLst>
          </p:cNvPr>
          <p:cNvSpPr/>
          <p:nvPr userDrawn="1"/>
        </p:nvSpPr>
        <p:spPr>
          <a:xfrm>
            <a:off x="2881698" y="4105703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6" name="TextBox 65">
            <a:extLst>
              <a:ext uri="{FF2B5EF4-FFF2-40B4-BE49-F238E27FC236}">
                <a16:creationId xmlns:a16="http://schemas.microsoft.com/office/drawing/2014/main" id="{35E94091-13B5-4A0A-9522-AD88C6CA1CAE}"/>
              </a:ext>
            </a:extLst>
          </p:cNvPr>
          <p:cNvSpPr txBox="1"/>
          <p:nvPr userDrawn="1"/>
        </p:nvSpPr>
        <p:spPr>
          <a:xfrm>
            <a:off x="3009575" y="4227017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4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7" name="Oval 4">
            <a:extLst>
              <a:ext uri="{FF2B5EF4-FFF2-40B4-BE49-F238E27FC236}">
                <a16:creationId xmlns:a16="http://schemas.microsoft.com/office/drawing/2014/main" id="{DAD1FF20-0C4D-472E-8B16-876ECCD4F44C}"/>
              </a:ext>
            </a:extLst>
          </p:cNvPr>
          <p:cNvSpPr/>
          <p:nvPr userDrawn="1"/>
        </p:nvSpPr>
        <p:spPr>
          <a:xfrm>
            <a:off x="2888346" y="5059304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68" name="TextBox 67">
            <a:extLst>
              <a:ext uri="{FF2B5EF4-FFF2-40B4-BE49-F238E27FC236}">
                <a16:creationId xmlns:a16="http://schemas.microsoft.com/office/drawing/2014/main" id="{89A8DE94-805A-4023-A3F5-766298296A71}"/>
              </a:ext>
            </a:extLst>
          </p:cNvPr>
          <p:cNvSpPr txBox="1"/>
          <p:nvPr userDrawn="1"/>
        </p:nvSpPr>
        <p:spPr>
          <a:xfrm>
            <a:off x="3016223" y="5180618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5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  <p:sp>
        <p:nvSpPr>
          <p:cNvPr id="69" name="Oval 4">
            <a:extLst>
              <a:ext uri="{FF2B5EF4-FFF2-40B4-BE49-F238E27FC236}">
                <a16:creationId xmlns:a16="http://schemas.microsoft.com/office/drawing/2014/main" id="{FE58A1B1-8619-47E4-86F3-516FFD011C1F}"/>
              </a:ext>
            </a:extLst>
          </p:cNvPr>
          <p:cNvSpPr/>
          <p:nvPr userDrawn="1"/>
        </p:nvSpPr>
        <p:spPr>
          <a:xfrm>
            <a:off x="2873128" y="5973298"/>
            <a:ext cx="766030" cy="766030"/>
          </a:xfrm>
          <a:prstGeom prst="ellipse">
            <a:avLst/>
          </a:prstGeom>
          <a:solidFill>
            <a:schemeClr val="bg1"/>
          </a:solidFill>
          <a:ln w="12700">
            <a:solidFill>
              <a:schemeClr val="accent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sp>
        <p:nvSpPr>
          <p:cNvPr id="70" name="TextBox 69">
            <a:extLst>
              <a:ext uri="{FF2B5EF4-FFF2-40B4-BE49-F238E27FC236}">
                <a16:creationId xmlns:a16="http://schemas.microsoft.com/office/drawing/2014/main" id="{24F8B646-AFDA-4C12-B356-F495D9D729C8}"/>
              </a:ext>
            </a:extLst>
          </p:cNvPr>
          <p:cNvSpPr txBox="1"/>
          <p:nvPr userDrawn="1"/>
        </p:nvSpPr>
        <p:spPr>
          <a:xfrm>
            <a:off x="3001005" y="6094612"/>
            <a:ext cx="479753" cy="523220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/>
            <a:r>
              <a:rPr lang="en-US" altLang="ko-KR" sz="2800" b="1" dirty="0">
                <a:solidFill>
                  <a:schemeClr val="accent1"/>
                </a:solidFill>
                <a:cs typeface="Arial" pitchFamily="34" charset="0"/>
              </a:rPr>
              <a:t>6</a:t>
            </a:r>
            <a:endParaRPr lang="ko-KR" altLang="en-US" sz="2800" b="1" dirty="0">
              <a:solidFill>
                <a:schemeClr val="accent1"/>
              </a:solidFill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60201346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icon se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ounded Rectangle 5"/>
          <p:cNvSpPr/>
          <p:nvPr/>
        </p:nvSpPr>
        <p:spPr>
          <a:xfrm>
            <a:off x="0" y="0"/>
            <a:ext cx="3799787" cy="6860557"/>
          </a:xfrm>
          <a:prstGeom prst="rect">
            <a:avLst/>
          </a:prstGeom>
          <a:solidFill>
            <a:schemeClr val="accent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 dirty="0"/>
          </a:p>
        </p:txBody>
      </p:sp>
      <p:sp>
        <p:nvSpPr>
          <p:cNvPr id="9" name="Rounded Rectangle 8"/>
          <p:cNvSpPr/>
          <p:nvPr/>
        </p:nvSpPr>
        <p:spPr>
          <a:xfrm>
            <a:off x="248556" y="403363"/>
            <a:ext cx="144693" cy="6092192"/>
          </a:xfrm>
          <a:prstGeom prst="roundRect">
            <a:avLst>
              <a:gd name="adj" fmla="val 50000"/>
            </a:avLst>
          </a:prstGeom>
          <a:solidFill>
            <a:schemeClr val="bg1">
              <a:alpha val="41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>
              <a:solidFill>
                <a:schemeClr val="bg1"/>
              </a:solidFill>
            </a:endParaRPr>
          </a:p>
        </p:txBody>
      </p:sp>
      <p:sp>
        <p:nvSpPr>
          <p:cNvPr id="12" name="Half Frame 11"/>
          <p:cNvSpPr/>
          <p:nvPr/>
        </p:nvSpPr>
        <p:spPr>
          <a:xfrm rot="5400000">
            <a:off x="2858858" y="335189"/>
            <a:ext cx="944398" cy="669775"/>
          </a:xfrm>
          <a:prstGeom prst="halfFrame">
            <a:avLst>
              <a:gd name="adj1" fmla="val 23728"/>
              <a:gd name="adj2" fmla="val 24642"/>
            </a:avLst>
          </a:prstGeom>
          <a:solidFill>
            <a:schemeClr val="bg1">
              <a:alpha val="23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>
              <a:solidFill>
                <a:schemeClr val="tx1"/>
              </a:solidFill>
            </a:endParaRPr>
          </a:p>
        </p:txBody>
      </p:sp>
      <p:pic>
        <p:nvPicPr>
          <p:cNvPr id="7" name="Рисунок 6">
            <a:extLst>
              <a:ext uri="{FF2B5EF4-FFF2-40B4-BE49-F238E27FC236}">
                <a16:creationId xmlns:a16="http://schemas.microsoft.com/office/drawing/2014/main" id="{0C3EAB43-D174-44B3-9C1E-D098DB7A6716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76144" y="388972"/>
            <a:ext cx="2447497" cy="67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27626103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_Basic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120" y="3018208"/>
            <a:ext cx="420272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grpSp>
        <p:nvGrpSpPr>
          <p:cNvPr id="3" name="Группа 2"/>
          <p:cNvGrpSpPr/>
          <p:nvPr userDrawn="1"/>
        </p:nvGrpSpPr>
        <p:grpSpPr>
          <a:xfrm>
            <a:off x="0" y="4872527"/>
            <a:ext cx="2324353" cy="1993911"/>
            <a:chOff x="-2980" y="4872527"/>
            <a:chExt cx="2324353" cy="1993911"/>
          </a:xfrm>
        </p:grpSpPr>
        <p:sp>
          <p:nvSpPr>
            <p:cNvPr id="5" name="Rectangle 29"/>
            <p:cNvSpPr/>
            <p:nvPr/>
          </p:nvSpPr>
          <p:spPr>
            <a:xfrm>
              <a:off x="-2980" y="6174352"/>
              <a:ext cx="1127448" cy="692086"/>
            </a:xfrm>
            <a:prstGeom prst="rect">
              <a:avLst/>
            </a:prstGeom>
            <a:solidFill>
              <a:schemeClr val="accent6">
                <a:lumMod val="5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6" name="Rectangle 30"/>
            <p:cNvSpPr/>
            <p:nvPr/>
          </p:nvSpPr>
          <p:spPr>
            <a:xfrm>
              <a:off x="-2980" y="5661247"/>
              <a:ext cx="1130428" cy="416471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7" name="Rectangle 31"/>
            <p:cNvSpPr/>
            <p:nvPr/>
          </p:nvSpPr>
          <p:spPr>
            <a:xfrm>
              <a:off x="-2980" y="4872527"/>
              <a:ext cx="682541" cy="692086"/>
            </a:xfrm>
            <a:prstGeom prst="rect">
              <a:avLst/>
            </a:prstGeom>
            <a:solidFill>
              <a:schemeClr val="accent3">
                <a:lumMod val="60000"/>
                <a:lumOff val="4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8" name="Rectangle 31"/>
            <p:cNvSpPr/>
            <p:nvPr/>
          </p:nvSpPr>
          <p:spPr>
            <a:xfrm>
              <a:off x="1219936" y="5669686"/>
              <a:ext cx="538834" cy="1196752"/>
            </a:xfrm>
            <a:prstGeom prst="rect">
              <a:avLst/>
            </a:prstGeom>
            <a:solidFill>
              <a:schemeClr val="accent3">
                <a:lumMod val="40000"/>
                <a:lumOff val="60000"/>
                <a:alpha val="7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  <p:sp>
          <p:nvSpPr>
            <p:cNvPr id="9" name="Rectangle 30"/>
            <p:cNvSpPr/>
            <p:nvPr/>
          </p:nvSpPr>
          <p:spPr>
            <a:xfrm>
              <a:off x="1854238" y="6174352"/>
              <a:ext cx="467135" cy="692086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122498538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Agenda Layout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052" name="Picture 4" descr="G:\002-KIMS BUSINESS\007-02-Googleslidesppt\02-GSppt-Contents-Kim\20170429\07-\item02.png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27382" y="2170883"/>
            <a:ext cx="3370352" cy="337035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757120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5_Basic Layout">
    <p:bg>
      <p:bgPr>
        <a:blipFill dpi="0" rotWithShape="1">
          <a:blip r:embed="rId2"/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grpSp>
        <p:nvGrpSpPr>
          <p:cNvPr id="23" name="Group 2">
            <a:extLst>
              <a:ext uri="{FF2B5EF4-FFF2-40B4-BE49-F238E27FC236}">
                <a16:creationId xmlns:a16="http://schemas.microsoft.com/office/drawing/2014/main" id="{75A1F0C8-ADE8-49C0-9621-BADA30C5AA62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24" name="Rectangle 1">
              <a:extLst>
                <a:ext uri="{FF2B5EF4-FFF2-40B4-BE49-F238E27FC236}">
                  <a16:creationId xmlns:a16="http://schemas.microsoft.com/office/drawing/2014/main" id="{F8E22D68-A56D-46FD-BC42-93B4EAE80021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25" name="Rectangle 6">
              <a:extLst>
                <a:ext uri="{FF2B5EF4-FFF2-40B4-BE49-F238E27FC236}">
                  <a16:creationId xmlns:a16="http://schemas.microsoft.com/office/drawing/2014/main" id="{8D24A598-D874-4C08-BEA7-301F153CADDB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6" name="Rectangle 7">
              <a:extLst>
                <a:ext uri="{FF2B5EF4-FFF2-40B4-BE49-F238E27FC236}">
                  <a16:creationId xmlns:a16="http://schemas.microsoft.com/office/drawing/2014/main" id="{53A13DC6-0EDF-4A8E-8E4D-81768F1DF80B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7" name="Rectangle 8">
              <a:extLst>
                <a:ext uri="{FF2B5EF4-FFF2-40B4-BE49-F238E27FC236}">
                  <a16:creationId xmlns:a16="http://schemas.microsoft.com/office/drawing/2014/main" id="{F2E441BD-7BE9-4A75-9DB5-735EC46026C2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8" name="Rectangle 11">
              <a:extLst>
                <a:ext uri="{FF2B5EF4-FFF2-40B4-BE49-F238E27FC236}">
                  <a16:creationId xmlns:a16="http://schemas.microsoft.com/office/drawing/2014/main" id="{C0BF37B3-A371-4645-A8AB-6294FA0012B1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29" name="Rectangle 12">
              <a:extLst>
                <a:ext uri="{FF2B5EF4-FFF2-40B4-BE49-F238E27FC236}">
                  <a16:creationId xmlns:a16="http://schemas.microsoft.com/office/drawing/2014/main" id="{D1F581C4-49C2-4733-8878-B70E3BB3F716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0" name="Rectangle 13">
              <a:extLst>
                <a:ext uri="{FF2B5EF4-FFF2-40B4-BE49-F238E27FC236}">
                  <a16:creationId xmlns:a16="http://schemas.microsoft.com/office/drawing/2014/main" id="{0562264D-B2F2-4788-B47F-5919F0A03323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1" name="Rectangle 14">
              <a:extLst>
                <a:ext uri="{FF2B5EF4-FFF2-40B4-BE49-F238E27FC236}">
                  <a16:creationId xmlns:a16="http://schemas.microsoft.com/office/drawing/2014/main" id="{1D2413AA-E9C9-4063-A40F-31C3653DDF8F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2" name="Rectangle 15">
              <a:extLst>
                <a:ext uri="{FF2B5EF4-FFF2-40B4-BE49-F238E27FC236}">
                  <a16:creationId xmlns:a16="http://schemas.microsoft.com/office/drawing/2014/main" id="{98EE8A88-944E-4EAF-802A-76F8CA0050AD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3" name="Rectangle 16">
              <a:extLst>
                <a:ext uri="{FF2B5EF4-FFF2-40B4-BE49-F238E27FC236}">
                  <a16:creationId xmlns:a16="http://schemas.microsoft.com/office/drawing/2014/main" id="{0A2BE1D3-6B9D-4BA7-AAC7-928A6AA44D80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4" name="Rectangle 17">
              <a:extLst>
                <a:ext uri="{FF2B5EF4-FFF2-40B4-BE49-F238E27FC236}">
                  <a16:creationId xmlns:a16="http://schemas.microsoft.com/office/drawing/2014/main" id="{576E8FCF-68A2-4B49-93A1-8F3AE723DA83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5" name="Rectangle 18">
              <a:extLst>
                <a:ext uri="{FF2B5EF4-FFF2-40B4-BE49-F238E27FC236}">
                  <a16:creationId xmlns:a16="http://schemas.microsoft.com/office/drawing/2014/main" id="{E38FF078-492E-46D5-B6EE-4FF39A801B41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19">
              <a:extLst>
                <a:ext uri="{FF2B5EF4-FFF2-40B4-BE49-F238E27FC236}">
                  <a16:creationId xmlns:a16="http://schemas.microsoft.com/office/drawing/2014/main" id="{CE554615-93B8-4E75-BBD0-67603689B6A1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20">
              <a:extLst>
                <a:ext uri="{FF2B5EF4-FFF2-40B4-BE49-F238E27FC236}">
                  <a16:creationId xmlns:a16="http://schemas.microsoft.com/office/drawing/2014/main" id="{AC36994E-976C-4B08-8784-AAC20FDF60E3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21">
              <a:extLst>
                <a:ext uri="{FF2B5EF4-FFF2-40B4-BE49-F238E27FC236}">
                  <a16:creationId xmlns:a16="http://schemas.microsoft.com/office/drawing/2014/main" id="{7EEBE4CE-D8B6-495B-ACCE-C188E8DF4878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22">
              <a:extLst>
                <a:ext uri="{FF2B5EF4-FFF2-40B4-BE49-F238E27FC236}">
                  <a16:creationId xmlns:a16="http://schemas.microsoft.com/office/drawing/2014/main" id="{FD50BD70-C637-458B-8952-261DED7CC717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</p:spTree>
    <p:extLst>
      <p:ext uri="{BB962C8B-B14F-4D97-AF65-F5344CB8AC3E}">
        <p14:creationId xmlns:p14="http://schemas.microsoft.com/office/powerpoint/2010/main" val="2121325790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Rectangle 22"/>
          <p:cNvSpPr/>
          <p:nvPr userDrawn="1"/>
        </p:nvSpPr>
        <p:spPr>
          <a:xfrm>
            <a:off x="143339" y="164637"/>
            <a:ext cx="11905322" cy="6528726"/>
          </a:xfrm>
          <a:prstGeom prst="rect">
            <a:avLst/>
          </a:prstGeom>
          <a:solidFill>
            <a:schemeClr val="bg1">
              <a:alpha val="85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260648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102873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51170699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64637"/>
            <a:ext cx="12192000" cy="768085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266" b="0" baseline="0">
                <a:solidFill>
                  <a:schemeClr val="bg1"/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1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932723"/>
            <a:ext cx="12192000" cy="384043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270" b="0" baseline="0">
                <a:solidFill>
                  <a:schemeClr val="bg1"/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  <p:sp>
        <p:nvSpPr>
          <p:cNvPr id="2" name="Rectangle 1"/>
          <p:cNvSpPr/>
          <p:nvPr userDrawn="1"/>
        </p:nvSpPr>
        <p:spPr>
          <a:xfrm>
            <a:off x="143339" y="1508787"/>
            <a:ext cx="11905322" cy="5184576"/>
          </a:xfrm>
          <a:prstGeom prst="rect">
            <a:avLst/>
          </a:prstGeom>
          <a:solidFill>
            <a:schemeClr val="bg1">
              <a:alpha val="9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2399"/>
          </a:p>
        </p:txBody>
      </p:sp>
    </p:spTree>
    <p:extLst>
      <p:ext uri="{BB962C8B-B14F-4D97-AF65-F5344CB8AC3E}">
        <p14:creationId xmlns:p14="http://schemas.microsoft.com/office/powerpoint/2010/main" val="2995040133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mages and Content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33" name="Group 2">
            <a:extLst>
              <a:ext uri="{FF2B5EF4-FFF2-40B4-BE49-F238E27FC236}">
                <a16:creationId xmlns:a16="http://schemas.microsoft.com/office/drawing/2014/main" id="{6E3CB9E0-2383-4255-9EF1-8268A614EEEE}"/>
              </a:ext>
            </a:extLst>
          </p:cNvPr>
          <p:cNvGrpSpPr/>
          <p:nvPr userDrawn="1"/>
        </p:nvGrpSpPr>
        <p:grpSpPr>
          <a:xfrm>
            <a:off x="3155" y="6730999"/>
            <a:ext cx="12188845" cy="141244"/>
            <a:chOff x="2267744" y="4865360"/>
            <a:chExt cx="8064896" cy="154663"/>
          </a:xfrm>
        </p:grpSpPr>
        <p:sp>
          <p:nvSpPr>
            <p:cNvPr id="34" name="Rectangle 1">
              <a:extLst>
                <a:ext uri="{FF2B5EF4-FFF2-40B4-BE49-F238E27FC236}">
                  <a16:creationId xmlns:a16="http://schemas.microsoft.com/office/drawing/2014/main" id="{4B0CF6BD-3392-4544-A141-29F47B1CE57E}"/>
                </a:ext>
              </a:extLst>
            </p:cNvPr>
            <p:cNvSpPr/>
            <p:nvPr userDrawn="1"/>
          </p:nvSpPr>
          <p:spPr>
            <a:xfrm>
              <a:off x="2267744" y="4872209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 dirty="0"/>
            </a:p>
          </p:txBody>
        </p:sp>
        <p:sp>
          <p:nvSpPr>
            <p:cNvPr id="35" name="Rectangle 6">
              <a:extLst>
                <a:ext uri="{FF2B5EF4-FFF2-40B4-BE49-F238E27FC236}">
                  <a16:creationId xmlns:a16="http://schemas.microsoft.com/office/drawing/2014/main" id="{622324D8-4779-4A27-9B32-A15B60CA1E3F}"/>
                </a:ext>
              </a:extLst>
            </p:cNvPr>
            <p:cNvSpPr/>
            <p:nvPr userDrawn="1"/>
          </p:nvSpPr>
          <p:spPr>
            <a:xfrm>
              <a:off x="2771800" y="4872088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6" name="Rectangle 7">
              <a:extLst>
                <a:ext uri="{FF2B5EF4-FFF2-40B4-BE49-F238E27FC236}">
                  <a16:creationId xmlns:a16="http://schemas.microsoft.com/office/drawing/2014/main" id="{70D2B963-189F-4326-8718-BF324BCA16CC}"/>
                </a:ext>
              </a:extLst>
            </p:cNvPr>
            <p:cNvSpPr/>
            <p:nvPr userDrawn="1"/>
          </p:nvSpPr>
          <p:spPr>
            <a:xfrm>
              <a:off x="3275856" y="4870431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7" name="Rectangle 8">
              <a:extLst>
                <a:ext uri="{FF2B5EF4-FFF2-40B4-BE49-F238E27FC236}">
                  <a16:creationId xmlns:a16="http://schemas.microsoft.com/office/drawing/2014/main" id="{7759F427-4CFF-402D-BAC9-E6272942E259}"/>
                </a:ext>
              </a:extLst>
            </p:cNvPr>
            <p:cNvSpPr/>
            <p:nvPr userDrawn="1"/>
          </p:nvSpPr>
          <p:spPr>
            <a:xfrm>
              <a:off x="3779912" y="4870310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8" name="Rectangle 11">
              <a:extLst>
                <a:ext uri="{FF2B5EF4-FFF2-40B4-BE49-F238E27FC236}">
                  <a16:creationId xmlns:a16="http://schemas.microsoft.com/office/drawing/2014/main" id="{21B2D139-E4A6-4AA1-9E91-EB0C320C9588}"/>
                </a:ext>
              </a:extLst>
            </p:cNvPr>
            <p:cNvSpPr/>
            <p:nvPr userDrawn="1"/>
          </p:nvSpPr>
          <p:spPr>
            <a:xfrm>
              <a:off x="4283968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39" name="Rectangle 12">
              <a:extLst>
                <a:ext uri="{FF2B5EF4-FFF2-40B4-BE49-F238E27FC236}">
                  <a16:creationId xmlns:a16="http://schemas.microsoft.com/office/drawing/2014/main" id="{E22D69FE-AEE2-458A-BB65-4421D40B3C1E}"/>
                </a:ext>
              </a:extLst>
            </p:cNvPr>
            <p:cNvSpPr/>
            <p:nvPr userDrawn="1"/>
          </p:nvSpPr>
          <p:spPr>
            <a:xfrm>
              <a:off x="4788024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0" name="Rectangle 13">
              <a:extLst>
                <a:ext uri="{FF2B5EF4-FFF2-40B4-BE49-F238E27FC236}">
                  <a16:creationId xmlns:a16="http://schemas.microsoft.com/office/drawing/2014/main" id="{3E9B7D25-0B74-47AD-A341-CC17CE7D3CF2}"/>
                </a:ext>
              </a:extLst>
            </p:cNvPr>
            <p:cNvSpPr/>
            <p:nvPr userDrawn="1"/>
          </p:nvSpPr>
          <p:spPr>
            <a:xfrm>
              <a:off x="5292080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1" name="Rectangle 14">
              <a:extLst>
                <a:ext uri="{FF2B5EF4-FFF2-40B4-BE49-F238E27FC236}">
                  <a16:creationId xmlns:a16="http://schemas.microsoft.com/office/drawing/2014/main" id="{18243A91-A937-4727-AA0C-64F7155E171A}"/>
                </a:ext>
              </a:extLst>
            </p:cNvPr>
            <p:cNvSpPr/>
            <p:nvPr userDrawn="1"/>
          </p:nvSpPr>
          <p:spPr>
            <a:xfrm>
              <a:off x="5796136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2" name="Rectangle 15">
              <a:extLst>
                <a:ext uri="{FF2B5EF4-FFF2-40B4-BE49-F238E27FC236}">
                  <a16:creationId xmlns:a16="http://schemas.microsoft.com/office/drawing/2014/main" id="{DB98DEF8-FADC-4903-9196-0628B7FF4D70}"/>
                </a:ext>
              </a:extLst>
            </p:cNvPr>
            <p:cNvSpPr/>
            <p:nvPr userDrawn="1"/>
          </p:nvSpPr>
          <p:spPr>
            <a:xfrm>
              <a:off x="6300192" y="4868845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3" name="Rectangle 16">
              <a:extLst>
                <a:ext uri="{FF2B5EF4-FFF2-40B4-BE49-F238E27FC236}">
                  <a16:creationId xmlns:a16="http://schemas.microsoft.com/office/drawing/2014/main" id="{476076CE-F29A-4765-BAB5-55EF8812AA28}"/>
                </a:ext>
              </a:extLst>
            </p:cNvPr>
            <p:cNvSpPr/>
            <p:nvPr userDrawn="1"/>
          </p:nvSpPr>
          <p:spPr>
            <a:xfrm>
              <a:off x="6804248" y="4868724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4" name="Rectangle 17">
              <a:extLst>
                <a:ext uri="{FF2B5EF4-FFF2-40B4-BE49-F238E27FC236}">
                  <a16:creationId xmlns:a16="http://schemas.microsoft.com/office/drawing/2014/main" id="{7564AFBA-D0EF-48DA-A6B6-20BBAB6A51EF}"/>
                </a:ext>
              </a:extLst>
            </p:cNvPr>
            <p:cNvSpPr/>
            <p:nvPr userDrawn="1"/>
          </p:nvSpPr>
          <p:spPr>
            <a:xfrm>
              <a:off x="7308304" y="4867067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5" name="Rectangle 18">
              <a:extLst>
                <a:ext uri="{FF2B5EF4-FFF2-40B4-BE49-F238E27FC236}">
                  <a16:creationId xmlns:a16="http://schemas.microsoft.com/office/drawing/2014/main" id="{95C98BE3-6F7D-4D6D-A2E6-A7DCB674C51A}"/>
                </a:ext>
              </a:extLst>
            </p:cNvPr>
            <p:cNvSpPr/>
            <p:nvPr userDrawn="1"/>
          </p:nvSpPr>
          <p:spPr>
            <a:xfrm>
              <a:off x="7812360" y="4866946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6" name="Rectangle 19">
              <a:extLst>
                <a:ext uri="{FF2B5EF4-FFF2-40B4-BE49-F238E27FC236}">
                  <a16:creationId xmlns:a16="http://schemas.microsoft.com/office/drawing/2014/main" id="{9654DC83-FBA6-4C1B-8A2E-CCDCC688FEE7}"/>
                </a:ext>
              </a:extLst>
            </p:cNvPr>
            <p:cNvSpPr/>
            <p:nvPr userDrawn="1"/>
          </p:nvSpPr>
          <p:spPr>
            <a:xfrm>
              <a:off x="8316416" y="4865481"/>
              <a:ext cx="504056" cy="147814"/>
            </a:xfrm>
            <a:prstGeom prst="rect">
              <a:avLst/>
            </a:prstGeom>
            <a:solidFill>
              <a:schemeClr val="accent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7" name="Rectangle 20">
              <a:extLst>
                <a:ext uri="{FF2B5EF4-FFF2-40B4-BE49-F238E27FC236}">
                  <a16:creationId xmlns:a16="http://schemas.microsoft.com/office/drawing/2014/main" id="{09B23FBB-894F-4244-A484-4FA3442C3C2D}"/>
                </a:ext>
              </a:extLst>
            </p:cNvPr>
            <p:cNvSpPr/>
            <p:nvPr userDrawn="1"/>
          </p:nvSpPr>
          <p:spPr>
            <a:xfrm>
              <a:off x="8820472" y="4865360"/>
              <a:ext cx="504056" cy="147814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8" name="Rectangle 21">
              <a:extLst>
                <a:ext uri="{FF2B5EF4-FFF2-40B4-BE49-F238E27FC236}">
                  <a16:creationId xmlns:a16="http://schemas.microsoft.com/office/drawing/2014/main" id="{04F25DA4-74DC-4F1B-9ACF-4FA301DEEDD5}"/>
                </a:ext>
              </a:extLst>
            </p:cNvPr>
            <p:cNvSpPr/>
            <p:nvPr userDrawn="1"/>
          </p:nvSpPr>
          <p:spPr>
            <a:xfrm>
              <a:off x="9324528" y="4871445"/>
              <a:ext cx="504056" cy="147814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  <p:sp>
          <p:nvSpPr>
            <p:cNvPr id="49" name="Rectangle 22">
              <a:extLst>
                <a:ext uri="{FF2B5EF4-FFF2-40B4-BE49-F238E27FC236}">
                  <a16:creationId xmlns:a16="http://schemas.microsoft.com/office/drawing/2014/main" id="{47C35BF7-5E1C-4341-8835-40B8D75CE509}"/>
                </a:ext>
              </a:extLst>
            </p:cNvPr>
            <p:cNvSpPr/>
            <p:nvPr userDrawn="1"/>
          </p:nvSpPr>
          <p:spPr>
            <a:xfrm>
              <a:off x="9828584" y="4871324"/>
              <a:ext cx="504056" cy="147814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2399"/>
            </a:p>
          </p:txBody>
        </p:sp>
      </p:grpSp>
      <p:sp>
        <p:nvSpPr>
          <p:cNvPr id="24" name="Picture Placeholder 2"/>
          <p:cNvSpPr>
            <a:spLocks noGrp="1"/>
          </p:cNvSpPr>
          <p:nvPr>
            <p:ph type="pic" idx="1" hasCustomPrompt="1"/>
          </p:nvPr>
        </p:nvSpPr>
        <p:spPr>
          <a:xfrm>
            <a:off x="911424" y="3456548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5" name="Picture Placeholder 2"/>
          <p:cNvSpPr>
            <a:spLocks noGrp="1"/>
          </p:cNvSpPr>
          <p:nvPr>
            <p:ph type="pic" idx="12" hasCustomPrompt="1"/>
          </p:nvPr>
        </p:nvSpPr>
        <p:spPr>
          <a:xfrm>
            <a:off x="911424" y="4529179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6" name="Picture Placeholder 2"/>
          <p:cNvSpPr>
            <a:spLocks noGrp="1"/>
          </p:cNvSpPr>
          <p:nvPr>
            <p:ph type="pic" idx="13" hasCustomPrompt="1"/>
          </p:nvPr>
        </p:nvSpPr>
        <p:spPr>
          <a:xfrm>
            <a:off x="911425" y="5600931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0" name="Picture Placeholder 2"/>
          <p:cNvSpPr>
            <a:spLocks noGrp="1"/>
          </p:cNvSpPr>
          <p:nvPr>
            <p:ph type="pic" idx="14" hasCustomPrompt="1"/>
          </p:nvPr>
        </p:nvSpPr>
        <p:spPr>
          <a:xfrm>
            <a:off x="911424" y="2393699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53" name="Picture Placeholder 2"/>
          <p:cNvSpPr>
            <a:spLocks noGrp="1"/>
          </p:cNvSpPr>
          <p:nvPr>
            <p:ph type="pic" idx="15" hasCustomPrompt="1"/>
          </p:nvPr>
        </p:nvSpPr>
        <p:spPr>
          <a:xfrm>
            <a:off x="911424" y="1321955"/>
            <a:ext cx="1728192" cy="924407"/>
          </a:xfrm>
          <a:prstGeom prst="rect">
            <a:avLst/>
          </a:prstGeom>
          <a:solidFill>
            <a:schemeClr val="bg1">
              <a:lumMod val="95000"/>
            </a:schemeClr>
          </a:solidFill>
          <a:ln w="25400">
            <a:noFill/>
          </a:ln>
        </p:spPr>
        <p:txBody>
          <a:bodyPr anchor="ctr"/>
          <a:lstStyle>
            <a:lvl1pPr marL="0" indent="0" algn="ctr">
              <a:buNone/>
              <a:defRPr sz="1089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  <a:lvl2pPr marL="414772" indent="0">
              <a:buNone/>
              <a:defRPr sz="2540"/>
            </a:lvl2pPr>
            <a:lvl3pPr marL="829544" indent="0">
              <a:buNone/>
              <a:defRPr sz="2177"/>
            </a:lvl3pPr>
            <a:lvl4pPr marL="1244316" indent="0">
              <a:buNone/>
              <a:defRPr sz="1814"/>
            </a:lvl4pPr>
            <a:lvl5pPr marL="1659087" indent="0">
              <a:buNone/>
              <a:defRPr sz="1814"/>
            </a:lvl5pPr>
            <a:lvl6pPr marL="2073859" indent="0">
              <a:buNone/>
              <a:defRPr sz="1814"/>
            </a:lvl6pPr>
            <a:lvl7pPr marL="2488631" indent="0">
              <a:buNone/>
              <a:defRPr sz="1814"/>
            </a:lvl7pPr>
            <a:lvl8pPr marL="2903403" indent="0">
              <a:buNone/>
              <a:defRPr sz="1814"/>
            </a:lvl8pPr>
            <a:lvl9pPr marL="3318175" indent="0">
              <a:buNone/>
              <a:defRPr sz="1814"/>
            </a:lvl9pPr>
          </a:lstStyle>
          <a:p>
            <a:r>
              <a:rPr lang="en-US" altLang="ko-KR" dirty="0"/>
              <a:t>Your Picture Here</a:t>
            </a:r>
            <a:endParaRPr lang="ko-KR" altLang="en-US" dirty="0"/>
          </a:p>
        </p:txBody>
      </p:sp>
      <p:sp>
        <p:nvSpPr>
          <p:cNvPr id="27" name="Rectangle 26"/>
          <p:cNvSpPr/>
          <p:nvPr userDrawn="1"/>
        </p:nvSpPr>
        <p:spPr>
          <a:xfrm>
            <a:off x="2888346" y="3456548"/>
            <a:ext cx="9303654" cy="924412"/>
          </a:xfrm>
          <a:prstGeom prst="rect">
            <a:avLst/>
          </a:prstGeom>
          <a:solidFill>
            <a:schemeClr val="accent1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8" name="Rectangle 27"/>
          <p:cNvSpPr/>
          <p:nvPr userDrawn="1"/>
        </p:nvSpPr>
        <p:spPr>
          <a:xfrm>
            <a:off x="2888346" y="4529181"/>
            <a:ext cx="9303654" cy="924413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29" name="Rectangle 28"/>
          <p:cNvSpPr/>
          <p:nvPr userDrawn="1"/>
        </p:nvSpPr>
        <p:spPr>
          <a:xfrm>
            <a:off x="2888347" y="5600932"/>
            <a:ext cx="9303654" cy="92441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1" name="Rectangle 27"/>
          <p:cNvSpPr/>
          <p:nvPr userDrawn="1"/>
        </p:nvSpPr>
        <p:spPr>
          <a:xfrm>
            <a:off x="2888346" y="2393701"/>
            <a:ext cx="9303654" cy="924412"/>
          </a:xfrm>
          <a:prstGeom prst="rect">
            <a:avLst/>
          </a:prstGeom>
          <a:solidFill>
            <a:schemeClr val="accent2">
              <a:lumMod val="40000"/>
              <a:lumOff val="6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4" name="Rectangle 28"/>
          <p:cNvSpPr/>
          <p:nvPr userDrawn="1"/>
        </p:nvSpPr>
        <p:spPr>
          <a:xfrm>
            <a:off x="2888346" y="1321956"/>
            <a:ext cx="9303654" cy="924412"/>
          </a:xfrm>
          <a:prstGeom prst="rect">
            <a:avLst/>
          </a:prstGeom>
          <a:solidFill>
            <a:schemeClr val="accent3">
              <a:lumMod val="20000"/>
              <a:lumOff val="80000"/>
              <a:alpha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0" name="Rectangle 29"/>
          <p:cNvSpPr/>
          <p:nvPr userDrawn="1"/>
        </p:nvSpPr>
        <p:spPr>
          <a:xfrm>
            <a:off x="0" y="3461444"/>
            <a:ext cx="682541" cy="924412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1" name="Rectangle 30"/>
          <p:cNvSpPr/>
          <p:nvPr userDrawn="1"/>
        </p:nvSpPr>
        <p:spPr>
          <a:xfrm>
            <a:off x="0" y="4531188"/>
            <a:ext cx="682541" cy="924413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32" name="Rectangle 31"/>
          <p:cNvSpPr/>
          <p:nvPr userDrawn="1"/>
        </p:nvSpPr>
        <p:spPr>
          <a:xfrm>
            <a:off x="0" y="5600932"/>
            <a:ext cx="682541" cy="924412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2" name="Rectangle 30"/>
          <p:cNvSpPr/>
          <p:nvPr userDrawn="1"/>
        </p:nvSpPr>
        <p:spPr>
          <a:xfrm>
            <a:off x="0" y="2391700"/>
            <a:ext cx="682541" cy="924412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  <p:sp>
        <p:nvSpPr>
          <p:cNvPr id="55" name="Rectangle 31"/>
          <p:cNvSpPr/>
          <p:nvPr userDrawn="1"/>
        </p:nvSpPr>
        <p:spPr>
          <a:xfrm>
            <a:off x="0" y="1321956"/>
            <a:ext cx="682541" cy="924412"/>
          </a:xfrm>
          <a:prstGeom prst="rect">
            <a:avLst/>
          </a:prstGeom>
          <a:solidFill>
            <a:schemeClr val="accent3">
              <a:lumMod val="60000"/>
              <a:lumOff val="40000"/>
              <a:alpha val="7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399"/>
          </a:p>
        </p:txBody>
      </p:sp>
    </p:spTree>
    <p:extLst>
      <p:ext uri="{BB962C8B-B14F-4D97-AF65-F5344CB8AC3E}">
        <p14:creationId xmlns:p14="http://schemas.microsoft.com/office/powerpoint/2010/main" val="161596703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4" Type="http://schemas.openxmlformats.org/officeDocument/2006/relationships/theme" Target="../theme/theme1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1.xml"/><Relationship Id="rId13" Type="http://schemas.openxmlformats.org/officeDocument/2006/relationships/theme" Target="../theme/theme2.xml"/><Relationship Id="rId3" Type="http://schemas.openxmlformats.org/officeDocument/2006/relationships/slideLayout" Target="../slideLayouts/slideLayout6.xml"/><Relationship Id="rId7" Type="http://schemas.openxmlformats.org/officeDocument/2006/relationships/slideLayout" Target="../slideLayouts/slideLayout10.xml"/><Relationship Id="rId12" Type="http://schemas.openxmlformats.org/officeDocument/2006/relationships/slideLayout" Target="../slideLayouts/slideLayout15.xml"/><Relationship Id="rId2" Type="http://schemas.openxmlformats.org/officeDocument/2006/relationships/slideLayout" Target="../slideLayouts/slideLayout5.xml"/><Relationship Id="rId1" Type="http://schemas.openxmlformats.org/officeDocument/2006/relationships/slideLayout" Target="../slideLayouts/slideLayout4.xml"/><Relationship Id="rId6" Type="http://schemas.openxmlformats.org/officeDocument/2006/relationships/slideLayout" Target="../slideLayouts/slideLayout9.xml"/><Relationship Id="rId11" Type="http://schemas.openxmlformats.org/officeDocument/2006/relationships/slideLayout" Target="../slideLayouts/slideLayout14.xml"/><Relationship Id="rId5" Type="http://schemas.openxmlformats.org/officeDocument/2006/relationships/slideLayout" Target="../slideLayouts/slideLayout8.xml"/><Relationship Id="rId10" Type="http://schemas.openxmlformats.org/officeDocument/2006/relationships/slideLayout" Target="../slideLayouts/slideLayout13.xml"/><Relationship Id="rId4" Type="http://schemas.openxmlformats.org/officeDocument/2006/relationships/slideLayout" Target="../slideLayouts/slideLayout7.xml"/><Relationship Id="rId9" Type="http://schemas.openxmlformats.org/officeDocument/2006/relationships/slideLayout" Target="../slideLayouts/slideLayout12.xml"/><Relationship Id="rId14" Type="http://schemas.openxmlformats.org/officeDocument/2006/relationships/image" Target="../media/image2.wmf"/></Relationships>
</file>

<file path=ppt/slideMasters/_rels/slideMaster3.xml.rels><?xml version="1.0" encoding="UTF-8" standalone="yes"?>
<Relationships xmlns="http://schemas.openxmlformats.org/package/2006/relationships"><Relationship Id="rId2" Type="http://schemas.openxmlformats.org/officeDocument/2006/relationships/theme" Target="../theme/theme3.xml"/><Relationship Id="rId1" Type="http://schemas.openxmlformats.org/officeDocument/2006/relationships/slideLayout" Target="../slideLayouts/slideLayout16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4.xml"/><Relationship Id="rId13" Type="http://schemas.openxmlformats.org/officeDocument/2006/relationships/slideLayout" Target="../slideLayouts/slideLayout29.xml"/><Relationship Id="rId3" Type="http://schemas.openxmlformats.org/officeDocument/2006/relationships/slideLayout" Target="../slideLayouts/slideLayout19.xml"/><Relationship Id="rId7" Type="http://schemas.openxmlformats.org/officeDocument/2006/relationships/slideLayout" Target="../slideLayouts/slideLayout23.xml"/><Relationship Id="rId12" Type="http://schemas.openxmlformats.org/officeDocument/2006/relationships/slideLayout" Target="../slideLayouts/slideLayout28.xml"/><Relationship Id="rId17" Type="http://schemas.openxmlformats.org/officeDocument/2006/relationships/image" Target="../media/image2.wmf"/><Relationship Id="rId2" Type="http://schemas.openxmlformats.org/officeDocument/2006/relationships/slideLayout" Target="../slideLayouts/slideLayout18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17.xml"/><Relationship Id="rId6" Type="http://schemas.openxmlformats.org/officeDocument/2006/relationships/slideLayout" Target="../slideLayouts/slideLayout22.xml"/><Relationship Id="rId11" Type="http://schemas.openxmlformats.org/officeDocument/2006/relationships/slideLayout" Target="../slideLayouts/slideLayout27.xml"/><Relationship Id="rId5" Type="http://schemas.openxmlformats.org/officeDocument/2006/relationships/slideLayout" Target="../slideLayouts/slideLayout21.xml"/><Relationship Id="rId15" Type="http://schemas.openxmlformats.org/officeDocument/2006/relationships/slideLayout" Target="../slideLayouts/slideLayout31.xml"/><Relationship Id="rId10" Type="http://schemas.openxmlformats.org/officeDocument/2006/relationships/slideLayout" Target="../slideLayouts/slideLayout26.xml"/><Relationship Id="rId4" Type="http://schemas.openxmlformats.org/officeDocument/2006/relationships/slideLayout" Target="../slideLayouts/slideLayout20.xml"/><Relationship Id="rId9" Type="http://schemas.openxmlformats.org/officeDocument/2006/relationships/slideLayout" Target="../slideLayouts/slideLayout25.xml"/><Relationship Id="rId14" Type="http://schemas.openxmlformats.org/officeDocument/2006/relationships/slideLayout" Target="../slideLayouts/slideLayout3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3668305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82" r:id="rId2"/>
    <p:sldLayoutId id="2147483650" r:id="rId3"/>
  </p:sldLayoutIdLst>
  <p:txStyles>
    <p:titleStyle>
      <a:lvl1pPr algn="ctr" defTabSz="829544" rtl="0" eaLnBrk="1" latinLnBrk="1" hangingPunct="1">
        <a:spcBef>
          <a:spcPct val="0"/>
        </a:spcBef>
        <a:buNone/>
        <a:defRPr sz="399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1079" indent="-311079" algn="l" defTabSz="829544" rtl="0" eaLnBrk="1" latinLnBrk="1" hangingPunct="1">
        <a:spcBef>
          <a:spcPct val="20000"/>
        </a:spcBef>
        <a:buFont typeface="Arial" pitchFamily="34" charset="0"/>
        <a:buChar char="•"/>
        <a:defRPr sz="2903" kern="1200">
          <a:solidFill>
            <a:schemeClr val="tx1"/>
          </a:solidFill>
          <a:latin typeface="+mn-lt"/>
          <a:ea typeface="+mn-ea"/>
          <a:cs typeface="+mn-cs"/>
        </a:defRPr>
      </a:lvl1pPr>
      <a:lvl2pPr marL="674004" indent="-259232" algn="l" defTabSz="829544" rtl="0" eaLnBrk="1" latinLnBrk="1" hangingPunct="1">
        <a:spcBef>
          <a:spcPct val="20000"/>
        </a:spcBef>
        <a:buFont typeface="Arial" pitchFamily="34" charset="0"/>
        <a:buChar char="–"/>
        <a:defRPr sz="25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1" hangingPunct="1">
        <a:spcBef>
          <a:spcPct val="20000"/>
        </a:spcBef>
        <a:buFont typeface="Arial" pitchFamily="34" charset="0"/>
        <a:buChar char="–"/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1" hangingPunct="1">
        <a:spcBef>
          <a:spcPct val="20000"/>
        </a:spcBef>
        <a:buFont typeface="Arial" pitchFamily="34" charset="0"/>
        <a:buChar char="»"/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120" y="3018208"/>
            <a:ext cx="420272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120" y="355828"/>
            <a:ext cx="2447497" cy="67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375555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1" r:id="rId1"/>
    <p:sldLayoutId id="2147483659" r:id="rId2"/>
    <p:sldLayoutId id="2147483674" r:id="rId3"/>
    <p:sldLayoutId id="2147483661" r:id="rId4"/>
    <p:sldLayoutId id="2147483660" r:id="rId5"/>
    <p:sldLayoutId id="2147483655" r:id="rId6"/>
    <p:sldLayoutId id="2147483681" r:id="rId7"/>
    <p:sldLayoutId id="2147483665" r:id="rId8"/>
    <p:sldLayoutId id="2147483666" r:id="rId9"/>
    <p:sldLayoutId id="2147483656" r:id="rId10"/>
    <p:sldLayoutId id="2147483680" r:id="rId11"/>
    <p:sldLayoutId id="2147483706" r:id="rId12"/>
  </p:sldLayoutIdLst>
  <p:txStyles>
    <p:titleStyle>
      <a:lvl1pPr algn="l" defTabSz="829544" rtl="0" eaLnBrk="1" latinLnBrk="1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1079" indent="-311079" algn="l" defTabSz="829544" rtl="0" eaLnBrk="1" latinLnBrk="1" hangingPunct="1">
        <a:spcBef>
          <a:spcPct val="20000"/>
        </a:spcBef>
        <a:buFont typeface="Arial" pitchFamily="34" charset="0"/>
        <a:buChar char="•"/>
        <a:defRPr sz="2903" kern="1200">
          <a:solidFill>
            <a:schemeClr val="tx1"/>
          </a:solidFill>
          <a:latin typeface="+mn-lt"/>
          <a:ea typeface="+mn-ea"/>
          <a:cs typeface="+mn-cs"/>
        </a:defRPr>
      </a:lvl1pPr>
      <a:lvl2pPr marL="674004" indent="-259232" algn="l" defTabSz="829544" rtl="0" eaLnBrk="1" latinLnBrk="1" hangingPunct="1">
        <a:spcBef>
          <a:spcPct val="20000"/>
        </a:spcBef>
        <a:buFont typeface="Arial" pitchFamily="34" charset="0"/>
        <a:buChar char="–"/>
        <a:defRPr sz="25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1" hangingPunct="1">
        <a:spcBef>
          <a:spcPct val="20000"/>
        </a:spcBef>
        <a:buFont typeface="Arial" pitchFamily="34" charset="0"/>
        <a:buChar char="–"/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1" hangingPunct="1">
        <a:spcBef>
          <a:spcPct val="20000"/>
        </a:spcBef>
        <a:buFont typeface="Arial" pitchFamily="34" charset="0"/>
        <a:buChar char="»"/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75471070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54" r:id="rId1"/>
  </p:sldLayoutIdLst>
  <p:txStyles>
    <p:titleStyle>
      <a:lvl1pPr algn="ctr" defTabSz="829544" rtl="0" eaLnBrk="1" latinLnBrk="1" hangingPunct="1">
        <a:spcBef>
          <a:spcPct val="0"/>
        </a:spcBef>
        <a:buNone/>
        <a:defRPr sz="3992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1079" indent="-311079" algn="l" defTabSz="829544" rtl="0" eaLnBrk="1" latinLnBrk="1" hangingPunct="1">
        <a:spcBef>
          <a:spcPct val="20000"/>
        </a:spcBef>
        <a:buFont typeface="Arial" pitchFamily="34" charset="0"/>
        <a:buChar char="•"/>
        <a:defRPr sz="2903" kern="1200">
          <a:solidFill>
            <a:schemeClr val="tx1"/>
          </a:solidFill>
          <a:latin typeface="+mn-lt"/>
          <a:ea typeface="+mn-ea"/>
          <a:cs typeface="+mn-cs"/>
        </a:defRPr>
      </a:lvl1pPr>
      <a:lvl2pPr marL="674004" indent="-259232" algn="l" defTabSz="829544" rtl="0" eaLnBrk="1" latinLnBrk="1" hangingPunct="1">
        <a:spcBef>
          <a:spcPct val="20000"/>
        </a:spcBef>
        <a:buFont typeface="Arial" pitchFamily="34" charset="0"/>
        <a:buChar char="–"/>
        <a:defRPr sz="25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1" hangingPunct="1">
        <a:spcBef>
          <a:spcPct val="20000"/>
        </a:spcBef>
        <a:buFont typeface="Arial" pitchFamily="34" charset="0"/>
        <a:buChar char="–"/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1" hangingPunct="1">
        <a:spcBef>
          <a:spcPct val="20000"/>
        </a:spcBef>
        <a:buFont typeface="Arial" pitchFamily="34" charset="0"/>
        <a:buChar char="»"/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53120" y="3018208"/>
            <a:ext cx="4202720" cy="1325563"/>
          </a:xfrm>
          <a:prstGeom prst="rect">
            <a:avLst/>
          </a:prstGeo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ru-RU" dirty="0"/>
              <a:t>ОБРАЗЕЦ </a:t>
            </a:r>
            <a:br>
              <a:rPr lang="ru-RU" dirty="0"/>
            </a:br>
            <a:r>
              <a:rPr lang="ru-RU" dirty="0"/>
              <a:t>ЗАГОЛОВКА</a:t>
            </a:r>
          </a:p>
        </p:txBody>
      </p:sp>
      <p:pic>
        <p:nvPicPr>
          <p:cNvPr id="10" name="Рисунок 9"/>
          <p:cNvPicPr>
            <a:picLocks noChangeAspect="1"/>
          </p:cNvPicPr>
          <p:nvPr userDrawn="1"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53120" y="355828"/>
            <a:ext cx="2447497" cy="67725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7432509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5" r:id="rId1"/>
    <p:sldLayoutId id="2147483686" r:id="rId2"/>
    <p:sldLayoutId id="2147483687" r:id="rId3"/>
    <p:sldLayoutId id="2147483688" r:id="rId4"/>
    <p:sldLayoutId id="2147483689" r:id="rId5"/>
    <p:sldLayoutId id="2147483690" r:id="rId6"/>
    <p:sldLayoutId id="2147483691" r:id="rId7"/>
    <p:sldLayoutId id="2147483692" r:id="rId8"/>
    <p:sldLayoutId id="2147483693" r:id="rId9"/>
    <p:sldLayoutId id="2147483694" r:id="rId10"/>
    <p:sldLayoutId id="2147483695" r:id="rId11"/>
    <p:sldLayoutId id="2147483696" r:id="rId12"/>
    <p:sldLayoutId id="2147483697" r:id="rId13"/>
    <p:sldLayoutId id="2147483698" r:id="rId14"/>
    <p:sldLayoutId id="2147483699" r:id="rId15"/>
  </p:sldLayoutIdLst>
  <p:txStyles>
    <p:titleStyle>
      <a:lvl1pPr algn="l" defTabSz="829544" rtl="0" eaLnBrk="1" latinLnBrk="1" hangingPunct="1">
        <a:spcBef>
          <a:spcPct val="0"/>
        </a:spcBef>
        <a:buNone/>
        <a:defRPr sz="32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311079" indent="-311079" algn="l" defTabSz="829544" rtl="0" eaLnBrk="1" latinLnBrk="1" hangingPunct="1">
        <a:spcBef>
          <a:spcPct val="20000"/>
        </a:spcBef>
        <a:buFont typeface="Arial" pitchFamily="34" charset="0"/>
        <a:buChar char="•"/>
        <a:defRPr sz="2903" kern="1200">
          <a:solidFill>
            <a:schemeClr val="tx1"/>
          </a:solidFill>
          <a:latin typeface="+mn-lt"/>
          <a:ea typeface="+mn-ea"/>
          <a:cs typeface="+mn-cs"/>
        </a:defRPr>
      </a:lvl1pPr>
      <a:lvl2pPr marL="674004" indent="-259232" algn="l" defTabSz="829544" rtl="0" eaLnBrk="1" latinLnBrk="1" hangingPunct="1">
        <a:spcBef>
          <a:spcPct val="20000"/>
        </a:spcBef>
        <a:buFont typeface="Arial" pitchFamily="34" charset="0"/>
        <a:buChar char="–"/>
        <a:defRPr sz="2540" kern="1200">
          <a:solidFill>
            <a:schemeClr val="tx1"/>
          </a:solidFill>
          <a:latin typeface="+mn-lt"/>
          <a:ea typeface="+mn-ea"/>
          <a:cs typeface="+mn-cs"/>
        </a:defRPr>
      </a:lvl2pPr>
      <a:lvl3pPr marL="1036930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2177" kern="1200">
          <a:solidFill>
            <a:schemeClr val="tx1"/>
          </a:solidFill>
          <a:latin typeface="+mn-lt"/>
          <a:ea typeface="+mn-ea"/>
          <a:cs typeface="+mn-cs"/>
        </a:defRPr>
      </a:lvl3pPr>
      <a:lvl4pPr marL="1451701" indent="-207386" algn="l" defTabSz="829544" rtl="0" eaLnBrk="1" latinLnBrk="1" hangingPunct="1">
        <a:spcBef>
          <a:spcPct val="20000"/>
        </a:spcBef>
        <a:buFont typeface="Arial" pitchFamily="34" charset="0"/>
        <a:buChar char="–"/>
        <a:defRPr sz="1814" kern="1200">
          <a:solidFill>
            <a:schemeClr val="tx1"/>
          </a:solidFill>
          <a:latin typeface="+mn-lt"/>
          <a:ea typeface="+mn-ea"/>
          <a:cs typeface="+mn-cs"/>
        </a:defRPr>
      </a:lvl4pPr>
      <a:lvl5pPr marL="1866473" indent="-207386" algn="l" defTabSz="829544" rtl="0" eaLnBrk="1" latinLnBrk="1" hangingPunct="1">
        <a:spcBef>
          <a:spcPct val="20000"/>
        </a:spcBef>
        <a:buFont typeface="Arial" pitchFamily="34" charset="0"/>
        <a:buChar char="»"/>
        <a:defRPr sz="1814" kern="1200">
          <a:solidFill>
            <a:schemeClr val="tx1"/>
          </a:solidFill>
          <a:latin typeface="+mn-lt"/>
          <a:ea typeface="+mn-ea"/>
          <a:cs typeface="+mn-cs"/>
        </a:defRPr>
      </a:lvl5pPr>
      <a:lvl6pPr marL="2281245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6pPr>
      <a:lvl7pPr marL="2696017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7pPr>
      <a:lvl8pPr marL="3110789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8pPr>
      <a:lvl9pPr marL="3525561" indent="-207386" algn="l" defTabSz="829544" rtl="0" eaLnBrk="1" latinLnBrk="1" hangingPunct="1">
        <a:spcBef>
          <a:spcPct val="20000"/>
        </a:spcBef>
        <a:buFont typeface="Arial" pitchFamily="34" charset="0"/>
        <a:buChar char="•"/>
        <a:defRPr sz="1814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ko-KR"/>
      </a:defPPr>
      <a:lvl1pPr marL="0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1pPr>
      <a:lvl2pPr marL="414772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2pPr>
      <a:lvl3pPr marL="829544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3pPr>
      <a:lvl4pPr marL="1244316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4pPr>
      <a:lvl5pPr marL="1659087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5pPr>
      <a:lvl6pPr marL="2073859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6pPr>
      <a:lvl7pPr marL="2488631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7pPr>
      <a:lvl8pPr marL="2903403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8pPr>
      <a:lvl9pPr marL="3318175" algn="l" defTabSz="829544" rtl="0" eaLnBrk="1" latinLnBrk="1" hangingPunct="1">
        <a:defRPr sz="1633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jp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Relationship Id="rId4" Type="http://schemas.openxmlformats.org/officeDocument/2006/relationships/image" Target="../media/image9.png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41.png"/><Relationship Id="rId3" Type="http://schemas.openxmlformats.org/officeDocument/2006/relationships/image" Target="../media/image37.png"/><Relationship Id="rId7" Type="http://schemas.openxmlformats.org/officeDocument/2006/relationships/image" Target="../media/image40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39.png"/><Relationship Id="rId5" Type="http://schemas.openxmlformats.org/officeDocument/2006/relationships/image" Target="../media/image38.png"/><Relationship Id="rId4" Type="http://schemas.openxmlformats.org/officeDocument/2006/relationships/chart" Target="../charts/chart3.xml"/><Relationship Id="rId9" Type="http://schemas.openxmlformats.org/officeDocument/2006/relationships/chart" Target="../charts/chart4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chart" Target="../charts/chart5.xml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2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48.jpeg"/><Relationship Id="rId13" Type="http://schemas.openxmlformats.org/officeDocument/2006/relationships/image" Target="../media/image53.jpeg"/><Relationship Id="rId3" Type="http://schemas.openxmlformats.org/officeDocument/2006/relationships/image" Target="../media/image43.png"/><Relationship Id="rId7" Type="http://schemas.openxmlformats.org/officeDocument/2006/relationships/image" Target="../media/image47.png"/><Relationship Id="rId12" Type="http://schemas.openxmlformats.org/officeDocument/2006/relationships/image" Target="../media/image52.jpe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5.xml"/><Relationship Id="rId6" Type="http://schemas.openxmlformats.org/officeDocument/2006/relationships/image" Target="../media/image46.png"/><Relationship Id="rId11" Type="http://schemas.openxmlformats.org/officeDocument/2006/relationships/image" Target="../media/image51.jpg"/><Relationship Id="rId5" Type="http://schemas.openxmlformats.org/officeDocument/2006/relationships/image" Target="../media/image45.png"/><Relationship Id="rId10" Type="http://schemas.openxmlformats.org/officeDocument/2006/relationships/image" Target="../media/image50.jpeg"/><Relationship Id="rId4" Type="http://schemas.openxmlformats.org/officeDocument/2006/relationships/image" Target="../media/image44.png"/><Relationship Id="rId9" Type="http://schemas.openxmlformats.org/officeDocument/2006/relationships/image" Target="../media/image49.jpg"/><Relationship Id="rId14" Type="http://schemas.openxmlformats.org/officeDocument/2006/relationships/image" Target="../media/image54.jfif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5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5.xml"/><Relationship Id="rId4" Type="http://schemas.microsoft.com/office/2007/relationships/hdphoto" Target="../media/hdphoto1.wdp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59.png"/><Relationship Id="rId3" Type="http://schemas.openxmlformats.org/officeDocument/2006/relationships/image" Target="../media/image56.png"/><Relationship Id="rId7" Type="http://schemas.openxmlformats.org/officeDocument/2006/relationships/image" Target="../media/image58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5.xml"/><Relationship Id="rId6" Type="http://schemas.microsoft.com/office/2007/relationships/hdphoto" Target="../media/hdphoto3.wdp"/><Relationship Id="rId5" Type="http://schemas.openxmlformats.org/officeDocument/2006/relationships/image" Target="../media/image57.png"/><Relationship Id="rId4" Type="http://schemas.microsoft.com/office/2007/relationships/hdphoto" Target="../media/hdphoto2.wdp"/><Relationship Id="rId9" Type="http://schemas.microsoft.com/office/2007/relationships/hdphoto" Target="../media/hdphoto4.wdp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5.jpeg"/><Relationship Id="rId3" Type="http://schemas.openxmlformats.org/officeDocument/2006/relationships/image" Target="../media/image60.jpeg"/><Relationship Id="rId7" Type="http://schemas.openxmlformats.org/officeDocument/2006/relationships/image" Target="../media/image64.jp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30.xml"/><Relationship Id="rId6" Type="http://schemas.openxmlformats.org/officeDocument/2006/relationships/image" Target="../media/image63.jpeg"/><Relationship Id="rId5" Type="http://schemas.openxmlformats.org/officeDocument/2006/relationships/image" Target="../media/image62.jpeg"/><Relationship Id="rId4" Type="http://schemas.openxmlformats.org/officeDocument/2006/relationships/image" Target="../media/image61.jp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6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27.xml"/></Relationships>
</file>

<file path=ppt/slides/_rels/slide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66.png"/><Relationship Id="rId1" Type="http://schemas.openxmlformats.org/officeDocument/2006/relationships/slideLayout" Target="../slideLayouts/slideLayout27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4.xml"/></Relationships>
</file>

<file path=ppt/slides/_rels/slide2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27.xml"/></Relationships>
</file>

<file path=ppt/slides/_rels/slide21.xml.rels><?xml version="1.0" encoding="UTF-8" standalone="yes" ?><Relationships xmlns="http://schemas.openxmlformats.org/package/2006/relationships"><Relationship Id="rId3" Target="../media/image67.jpeg" Type="http://schemas.openxmlformats.org/officeDocument/2006/relationships/image"/><Relationship Id="rId2" Target="../notesSlides/notesSlide17.xml" Type="http://schemas.openxmlformats.org/officeDocument/2006/relationships/notesSlide"/><Relationship Id="rId1" Target="../slideLayouts/slideLayout14.xml" Type="http://schemas.openxmlformats.org/officeDocument/2006/relationships/slideLayout"/><Relationship Id="rId4" Target="../media/image2.wmf" Type="http://schemas.openxmlformats.org/officeDocument/2006/relationships/image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7" Type="http://schemas.openxmlformats.org/officeDocument/2006/relationships/image" Target="../media/image15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4.xml"/><Relationship Id="rId6" Type="http://schemas.openxmlformats.org/officeDocument/2006/relationships/image" Target="../media/image14.png"/><Relationship Id="rId5" Type="http://schemas.openxmlformats.org/officeDocument/2006/relationships/image" Target="../media/image13.png"/><Relationship Id="rId4" Type="http://schemas.openxmlformats.org/officeDocument/2006/relationships/image" Target="../media/image12.png"/></Relationships>
</file>

<file path=ppt/slides/_rels/slide4.xml.rels><?xml version="1.0" encoding="UTF-8" standalone="yes" ?><Relationships xmlns="http://schemas.openxmlformats.org/package/2006/relationships"><Relationship Id="rId3" Target="../media/image17.jpeg" Type="http://schemas.openxmlformats.org/officeDocument/2006/relationships/image"/><Relationship Id="rId2" Target="../media/image16.jpeg" Type="http://schemas.openxmlformats.org/officeDocument/2006/relationships/image"/><Relationship Id="rId1" Target="../slideLayouts/slideLayout9.xml" Type="http://schemas.openxmlformats.org/officeDocument/2006/relationships/slideLayout"/><Relationship Id="rId6" Target="../media/image20.jpeg" Type="http://schemas.openxmlformats.org/officeDocument/2006/relationships/image"/><Relationship Id="rId5" Target="../media/image19.jpeg" Type="http://schemas.openxmlformats.org/officeDocument/2006/relationships/image"/><Relationship Id="rId4" Target="../media/image18.jpeg" Type="http://schemas.openxmlformats.org/officeDocument/2006/relationships/image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0.jp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.xml"/></Relationships>
</file>

<file path=ppt/slides/_rels/slide6.xml.rels><?xml version="1.0" encoding="UTF-8" standalone="yes" ?><Relationships xmlns="http://schemas.openxmlformats.org/package/2006/relationships"><Relationship Id="rId8" Target="../media/image25.jpeg" Type="http://schemas.openxmlformats.org/officeDocument/2006/relationships/image"/><Relationship Id="rId3" Target="../media/image21.jpeg" Type="http://schemas.openxmlformats.org/officeDocument/2006/relationships/image"/><Relationship Id="rId7" Target="../media/image24.jpeg" Type="http://schemas.openxmlformats.org/officeDocument/2006/relationships/image"/><Relationship Id="rId2" Target="../media/image16.jpeg" Type="http://schemas.openxmlformats.org/officeDocument/2006/relationships/image"/><Relationship Id="rId1" Target="../slideLayouts/slideLayout9.xml" Type="http://schemas.openxmlformats.org/officeDocument/2006/relationships/slideLayout"/><Relationship Id="rId6" Target="../media/image23.jpg" Type="http://schemas.openxmlformats.org/officeDocument/2006/relationships/image"/><Relationship Id="rId5" Target="../media/image20.jpeg" Type="http://schemas.openxmlformats.org/officeDocument/2006/relationships/image"/><Relationship Id="rId4" Target="../media/image22.jpeg" Type="http://schemas.openxmlformats.org/officeDocument/2006/relationships/image"/><Relationship Id="rId9" Target="../media/image26.jpeg" Type="http://schemas.openxmlformats.org/officeDocument/2006/relationships/image"/></Relationships>
</file>

<file path=ppt/slides/_rels/slide7.xml.rels><?xml version="1.0" encoding="UTF-8" standalone="yes" ?><Relationships xmlns="http://schemas.openxmlformats.org/package/2006/relationships"><Relationship Id="rId8" Target="../media/image31.jpg" Type="http://schemas.openxmlformats.org/officeDocument/2006/relationships/image"/><Relationship Id="rId3" Target="../media/image22.jpeg" Type="http://schemas.openxmlformats.org/officeDocument/2006/relationships/image"/><Relationship Id="rId7" Target="../media/image30.jpeg" Type="http://schemas.openxmlformats.org/officeDocument/2006/relationships/image"/><Relationship Id="rId2" Target="../media/image16.jpeg" Type="http://schemas.openxmlformats.org/officeDocument/2006/relationships/image"/><Relationship Id="rId1" Target="../slideLayouts/slideLayout9.xml" Type="http://schemas.openxmlformats.org/officeDocument/2006/relationships/slideLayout"/><Relationship Id="rId6" Target="../media/image29.jpeg" Type="http://schemas.openxmlformats.org/officeDocument/2006/relationships/image"/><Relationship Id="rId5" Target="../media/image28.jpeg" Type="http://schemas.openxmlformats.org/officeDocument/2006/relationships/image"/><Relationship Id="rId4" Target="../media/image27.jpeg" Type="http://schemas.openxmlformats.org/officeDocument/2006/relationships/image"/></Relationships>
</file>

<file path=ppt/slides/_rels/slide8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4.xml"/><Relationship Id="rId5" Type="http://schemas.openxmlformats.org/officeDocument/2006/relationships/chart" Target="../charts/chart2.xml"/><Relationship Id="rId4" Type="http://schemas.openxmlformats.org/officeDocument/2006/relationships/image" Target="../media/image32.png"/></Relationships>
</file>

<file path=ppt/slides/_rels/slide9.xml.rels><?xml version="1.0" encoding="UTF-8" standalone="yes" ?><Relationships xmlns="http://schemas.openxmlformats.org/package/2006/relationships"><Relationship Id="rId8" Target="../media/image34.png" Type="http://schemas.openxmlformats.org/officeDocument/2006/relationships/image"/><Relationship Id="rId3" Target="../slideLayouts/slideLayout4.xml" Type="http://schemas.openxmlformats.org/officeDocument/2006/relationships/slideLayout"/><Relationship Id="rId7" Target="../media/image33.png" Type="http://schemas.openxmlformats.org/officeDocument/2006/relationships/image"/><Relationship Id="rId2" Target="../tags/tag3.xml" Type="http://schemas.openxmlformats.org/officeDocument/2006/relationships/tags"/><Relationship Id="rId6" Target="../media/image7.emf" Type="http://schemas.openxmlformats.org/officeDocument/2006/relationships/image"/><Relationship Id="rId5" Target="../media/image7.emf" Type="http://schemas.openxmlformats.org/officeDocument/2006/relationships/image"/><Relationship Id="rId10" Target="../media/image36.png" Type="http://schemas.openxmlformats.org/officeDocument/2006/relationships/image"/><Relationship Id="rId4" Target="../notesSlides/notesSlide6.xml" Type="http://schemas.openxmlformats.org/officeDocument/2006/relationships/notesSlide"/><Relationship Id="rId9" Target="../media/image35.png" Type="http://schemas.openxmlformats.org/officeDocument/2006/relationships/image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Текст 7"/>
          <p:cNvSpPr>
            <a:spLocks noGrp="1"/>
          </p:cNvSpPr>
          <p:nvPr>
            <p:ph type="body" sz="quarter" idx="10"/>
          </p:nvPr>
        </p:nvSpPr>
        <p:spPr>
          <a:xfrm>
            <a:off x="0" y="4437112"/>
            <a:ext cx="12192000" cy="1122108"/>
          </a:xfrm>
          <a:solidFill>
            <a:srgbClr val="3F9B4E">
              <a:alpha val="60000"/>
            </a:srgbClr>
          </a:solidFill>
        </p:spPr>
        <p:txBody>
          <a:bodyPr/>
          <a:lstStyle/>
          <a:p>
            <a:r>
              <a:rPr lang="en-US" sz="1800" dirty="0">
                <a:solidFill>
                  <a:schemeClr val="bg1"/>
                </a:solidFill>
              </a:rPr>
              <a:t>     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9" name="Текст 8"/>
          <p:cNvSpPr>
            <a:spLocks noGrp="1"/>
          </p:cNvSpPr>
          <p:nvPr>
            <p:ph type="body" sz="quarter" idx="11"/>
          </p:nvPr>
        </p:nvSpPr>
        <p:spPr>
          <a:xfrm>
            <a:off x="-12522" y="6027272"/>
            <a:ext cx="12192000" cy="576064"/>
          </a:xfrm>
        </p:spPr>
        <p:txBody>
          <a:bodyPr/>
          <a:lstStyle/>
          <a:p>
            <a:r>
              <a:rPr lang="en-US" sz="2400" dirty="0">
                <a:solidFill>
                  <a:schemeClr val="bg1"/>
                </a:solidFill>
              </a:rPr>
              <a:t>WWW.BUTB.BY</a:t>
            </a:r>
            <a:endParaRPr lang="ru-RU" sz="1800" dirty="0">
              <a:solidFill>
                <a:schemeClr val="bg1"/>
              </a:solidFill>
            </a:endParaRPr>
          </a:p>
        </p:txBody>
      </p:sp>
      <p:sp>
        <p:nvSpPr>
          <p:cNvPr id="4" name="Текст 8">
            <a:extLst>
              <a:ext uri="{FF2B5EF4-FFF2-40B4-BE49-F238E27FC236}">
                <a16:creationId xmlns:a16="http://schemas.microsoft.com/office/drawing/2014/main" id="{DD762A4C-B98F-4C12-A08B-CB141AA4F7CE}"/>
              </a:ext>
            </a:extLst>
          </p:cNvPr>
          <p:cNvSpPr txBox="1">
            <a:spLocks/>
          </p:cNvSpPr>
          <p:nvPr/>
        </p:nvSpPr>
        <p:spPr>
          <a:xfrm>
            <a:off x="0" y="3609020"/>
            <a:ext cx="12192000" cy="576064"/>
          </a:xfrm>
          <a:prstGeom prst="rect">
            <a:avLst/>
          </a:prstGeom>
          <a:noFill/>
        </p:spPr>
        <p:txBody>
          <a:bodyPr anchor="ctr"/>
          <a:lstStyle>
            <a:lvl1pPr marL="0" indent="0" algn="ctr" defTabSz="829544" rtl="0" eaLnBrk="1" latinLnBrk="1" hangingPunct="1">
              <a:lnSpc>
                <a:spcPct val="100000"/>
              </a:lnSpc>
              <a:spcBef>
                <a:spcPct val="20000"/>
              </a:spcBef>
              <a:buFont typeface="Arial" pitchFamily="34" charset="0"/>
              <a:buNone/>
              <a:defRPr sz="1270" b="1" kern="1200" baseline="0">
                <a:solidFill>
                  <a:schemeClr val="tx1"/>
                </a:solidFill>
                <a:latin typeface="+mn-lt"/>
                <a:ea typeface="+mn-ea"/>
                <a:cs typeface="Arial" pitchFamily="34" charset="0"/>
              </a:defRPr>
            </a:lvl1pPr>
            <a:lvl2pPr marL="674004" indent="-259232" algn="l" defTabSz="829544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254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6930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2177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451701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–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66473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»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1245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696017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110789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525561" indent="-207386" algn="l" defTabSz="829544" rtl="0" eaLnBrk="1" latinLnBrk="1" hangingPunct="1">
              <a:spcBef>
                <a:spcPct val="20000"/>
              </a:spcBef>
              <a:buFont typeface="Arial" pitchFamily="34" charset="0"/>
              <a:buChar char="•"/>
              <a:defRPr sz="1814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endParaRPr lang="ru-RU" sz="3600" dirty="0">
              <a:solidFill>
                <a:schemeClr val="bg1"/>
              </a:solidFill>
            </a:endParaRPr>
          </a:p>
        </p:txBody>
      </p:sp>
      <p:pic>
        <p:nvPicPr>
          <p:cNvPr id="3" name="Рисунок 2">
            <a:extLst>
              <a:ext uri="{FF2B5EF4-FFF2-40B4-BE49-F238E27FC236}">
                <a16:creationId xmlns:a16="http://schemas.microsoft.com/office/drawing/2014/main" id="{8B9DB593-F9D3-4DAF-B16C-C551EA5351BF}"/>
              </a:ext>
            </a:extLst>
          </p:cNvPr>
          <p:cNvPicPr>
            <a:picLocks noChangeAspect="1"/>
          </p:cNvPicPr>
          <p:nvPr/>
        </p:nvPicPr>
        <p:blipFill>
          <a:blip r:embed="rId4"/>
          <a:stretch>
            <a:fillRect/>
          </a:stretch>
        </p:blipFill>
        <p:spPr>
          <a:xfrm>
            <a:off x="575264" y="4364127"/>
            <a:ext cx="11016427" cy="126807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94481169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1" name="Рисунок 10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22814" y="2875391"/>
            <a:ext cx="2647950" cy="2198005"/>
          </a:xfrm>
          <a:prstGeom prst="rect">
            <a:avLst/>
          </a:prstGeom>
        </p:spPr>
      </p:pic>
      <p:sp>
        <p:nvSpPr>
          <p:cNvPr id="41" name="Заголовок 1"/>
          <p:cNvSpPr>
            <a:spLocks noGrp="1"/>
          </p:cNvSpPr>
          <p:nvPr>
            <p:ph type="title"/>
          </p:nvPr>
        </p:nvSpPr>
        <p:spPr>
          <a:xfrm>
            <a:off x="280096" y="1726930"/>
            <a:ext cx="4699779" cy="1749247"/>
          </a:xfrm>
        </p:spPr>
        <p:txBody>
          <a:bodyPr>
            <a:noAutofit/>
          </a:bodyPr>
          <a:lstStyle/>
          <a:p>
            <a:r>
              <a:rPr lang="ru-RU" dirty="0">
                <a:sym typeface="Roboto" pitchFamily="2" charset="0"/>
              </a:rPr>
              <a:t>Торги </a:t>
            </a:r>
            <a:br>
              <a:rPr lang="ru-RU" dirty="0">
                <a:sym typeface="Roboto" pitchFamily="2" charset="0"/>
              </a:rPr>
            </a:br>
            <a:r>
              <a:rPr lang="ru-RU" dirty="0">
                <a:sym typeface="Roboto" pitchFamily="2" charset="0"/>
              </a:rPr>
              <a:t>сельхозпродукцией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935210" y="1686336"/>
            <a:ext cx="1595933" cy="1812097"/>
            <a:chOff x="3820178" y="764153"/>
            <a:chExt cx="1959731" cy="2051255"/>
          </a:xfrm>
        </p:grpSpPr>
        <p:graphicFrame>
          <p:nvGraphicFramePr>
            <p:cNvPr id="33" name="Chart 7"/>
            <p:cNvGraphicFramePr/>
            <p:nvPr/>
          </p:nvGraphicFramePr>
          <p:xfrm>
            <a:off x="3820178" y="764153"/>
            <a:ext cx="1959731" cy="20512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34" name="TextBox 33"/>
            <p:cNvSpPr txBox="1"/>
            <p:nvPr/>
          </p:nvSpPr>
          <p:spPr>
            <a:xfrm>
              <a:off x="4068022" y="1257039"/>
              <a:ext cx="1405841" cy="940671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altLang="ko-KR" sz="4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8</a:t>
              </a:r>
              <a:r>
                <a:rPr lang="en-US" altLang="ko-KR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%</a:t>
              </a:r>
              <a:endPara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D92A654B-6D85-4C0C-84B7-DEEA7E085B71}"/>
              </a:ext>
            </a:extLst>
          </p:cNvPr>
          <p:cNvSpPr txBox="1"/>
          <p:nvPr/>
        </p:nvSpPr>
        <p:spPr>
          <a:xfrm>
            <a:off x="6844843" y="3277744"/>
            <a:ext cx="2088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8000" dirty="0">
                <a:solidFill>
                  <a:schemeClr val="accent1"/>
                </a:solidFill>
              </a:rPr>
              <a:t>650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9228348" y="1196752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8622334" y="476899"/>
            <a:ext cx="26289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оля в биржевом товарообороте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925834" y="3684484"/>
            <a:ext cx="2916324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товарных позиций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92A654B-6D85-4C0C-84B7-DEEA7E085B71}"/>
              </a:ext>
            </a:extLst>
          </p:cNvPr>
          <p:cNvSpPr txBox="1"/>
          <p:nvPr/>
        </p:nvSpPr>
        <p:spPr>
          <a:xfrm>
            <a:off x="6852084" y="4355588"/>
            <a:ext cx="207375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dirty="0">
                <a:solidFill>
                  <a:schemeClr val="accent1"/>
                </a:solidFill>
              </a:rPr>
              <a:t>200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92A654B-6D85-4C0C-84B7-DEEA7E085B71}"/>
              </a:ext>
            </a:extLst>
          </p:cNvPr>
          <p:cNvSpPr txBox="1"/>
          <p:nvPr/>
        </p:nvSpPr>
        <p:spPr>
          <a:xfrm>
            <a:off x="7167068" y="5525941"/>
            <a:ext cx="738400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dirty="0">
                <a:solidFill>
                  <a:schemeClr val="accent1"/>
                </a:solidFill>
              </a:rPr>
              <a:t>3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29" name="TextBox 28"/>
          <p:cNvSpPr txBox="1"/>
          <p:nvPr/>
        </p:nvSpPr>
        <p:spPr>
          <a:xfrm>
            <a:off x="9084332" y="5849753"/>
            <a:ext cx="2664296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за одну </a:t>
            </a:r>
            <a:br>
              <a:rPr lang="ru-RU" dirty="0"/>
            </a:br>
            <a:r>
              <a:rPr lang="ru-RU" dirty="0"/>
              <a:t>торговую сессию</a:t>
            </a:r>
          </a:p>
        </p:txBody>
      </p:sp>
      <p:pic>
        <p:nvPicPr>
          <p:cNvPr id="8" name="Рисунок 7"/>
          <p:cNvPicPr>
            <a:picLocks noChangeAspect="1"/>
          </p:cNvPicPr>
          <p:nvPr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51784" y="4189636"/>
            <a:ext cx="1994455" cy="1397068"/>
          </a:xfrm>
          <a:prstGeom prst="rect">
            <a:avLst/>
          </a:prstGeom>
        </p:spPr>
      </p:pic>
      <p:pic>
        <p:nvPicPr>
          <p:cNvPr id="9" name="Рисунок 8"/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02960" y="2910091"/>
            <a:ext cx="4286250" cy="3067050"/>
          </a:xfrm>
          <a:prstGeom prst="rect">
            <a:avLst/>
          </a:prstGeom>
        </p:spPr>
      </p:pic>
      <p:pic>
        <p:nvPicPr>
          <p:cNvPr id="10" name="Рисунок 9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7976" y="4549398"/>
            <a:ext cx="2179924" cy="1245361"/>
          </a:xfrm>
          <a:prstGeom prst="rect">
            <a:avLst/>
          </a:prstGeom>
        </p:spPr>
      </p:pic>
      <p:sp>
        <p:nvSpPr>
          <p:cNvPr id="30" name="TextBox 29"/>
          <p:cNvSpPr txBox="1"/>
          <p:nvPr/>
        </p:nvSpPr>
        <p:spPr>
          <a:xfrm>
            <a:off x="9012324" y="4601808"/>
            <a:ext cx="29163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участников </a:t>
            </a:r>
            <a:br>
              <a:rPr lang="ru-RU" dirty="0"/>
            </a:br>
            <a:r>
              <a:rPr lang="ru-RU" dirty="0"/>
              <a:t>в каждых торгах</a:t>
            </a:r>
          </a:p>
        </p:txBody>
      </p:sp>
      <p:sp>
        <p:nvSpPr>
          <p:cNvPr id="31" name="TextBox 30"/>
          <p:cNvSpPr txBox="1"/>
          <p:nvPr/>
        </p:nvSpPr>
        <p:spPr>
          <a:xfrm>
            <a:off x="7773018" y="5642208"/>
            <a:ext cx="1440160" cy="107721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200" dirty="0">
                <a:solidFill>
                  <a:schemeClr val="accent3"/>
                </a:solidFill>
              </a:rPr>
              <a:t>млн </a:t>
            </a:r>
            <a:br>
              <a:rPr lang="ru-RU" sz="3200" dirty="0">
                <a:solidFill>
                  <a:schemeClr val="accent3"/>
                </a:solidFill>
              </a:rPr>
            </a:br>
            <a:r>
              <a:rPr lang="en-US" sz="3200" dirty="0">
                <a:solidFill>
                  <a:schemeClr val="accent3"/>
                </a:solidFill>
              </a:rPr>
              <a:t>USD</a:t>
            </a:r>
            <a:endParaRPr lang="ru-RU" sz="3200" dirty="0">
              <a:solidFill>
                <a:schemeClr val="accent3"/>
              </a:solidFill>
            </a:endParaRPr>
          </a:p>
        </p:txBody>
      </p:sp>
      <p:pic>
        <p:nvPicPr>
          <p:cNvPr id="3" name="Рисунок 2"/>
          <p:cNvPicPr>
            <a:picLocks noChangeAspect="1"/>
          </p:cNvPicPr>
          <p:nvPr/>
        </p:nvPicPr>
        <p:blipFill>
          <a:blip r:embed="rId8" cstate="print">
            <a:duotone>
              <a:schemeClr val="accent5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8227" y="4680457"/>
            <a:ext cx="854838" cy="854838"/>
          </a:xfrm>
          <a:prstGeom prst="rect">
            <a:avLst/>
          </a:prstGeom>
          <a:noFill/>
        </p:spPr>
      </p:pic>
      <p:grpSp>
        <p:nvGrpSpPr>
          <p:cNvPr id="20" name="Группа 19"/>
          <p:cNvGrpSpPr/>
          <p:nvPr/>
        </p:nvGrpSpPr>
        <p:grpSpPr>
          <a:xfrm>
            <a:off x="6921695" y="133815"/>
            <a:ext cx="1555577" cy="1755273"/>
            <a:chOff x="3820178" y="764153"/>
            <a:chExt cx="1959731" cy="2051255"/>
          </a:xfrm>
        </p:grpSpPr>
        <p:graphicFrame>
          <p:nvGraphicFramePr>
            <p:cNvPr id="23" name="Chart 7"/>
            <p:cNvGraphicFramePr/>
            <p:nvPr/>
          </p:nvGraphicFramePr>
          <p:xfrm>
            <a:off x="3820178" y="764153"/>
            <a:ext cx="1959731" cy="20512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9"/>
            </a:graphicData>
          </a:graphic>
        </p:graphicFrame>
        <p:sp>
          <p:nvSpPr>
            <p:cNvPr id="25" name="TextBox 24"/>
            <p:cNvSpPr txBox="1"/>
            <p:nvPr/>
          </p:nvSpPr>
          <p:spPr>
            <a:xfrm>
              <a:off x="4068022" y="1241813"/>
              <a:ext cx="1442312" cy="971123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altLang="ko-KR" sz="4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</a:t>
              </a:r>
              <a:r>
                <a:rPr lang="en-US" altLang="ko-KR" sz="4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8</a:t>
              </a:r>
              <a:r>
                <a:rPr lang="en-US" altLang="ko-KR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%</a:t>
              </a:r>
              <a:endPara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26" name="TextBox 25"/>
          <p:cNvSpPr txBox="1"/>
          <p:nvPr/>
        </p:nvSpPr>
        <p:spPr>
          <a:xfrm>
            <a:off x="8661363" y="2188437"/>
            <a:ext cx="26289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оля в биржевом экспорте</a:t>
            </a:r>
          </a:p>
        </p:txBody>
      </p:sp>
    </p:spTree>
    <p:extLst>
      <p:ext uri="{BB962C8B-B14F-4D97-AF65-F5344CB8AC3E}">
        <p14:creationId xmlns:p14="http://schemas.microsoft.com/office/powerpoint/2010/main" val="3406544051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Заголовок 1"/>
          <p:cNvSpPr>
            <a:spLocks noGrp="1"/>
          </p:cNvSpPr>
          <p:nvPr>
            <p:ph type="title"/>
          </p:nvPr>
        </p:nvSpPr>
        <p:spPr>
          <a:xfrm>
            <a:off x="111267" y="1882126"/>
            <a:ext cx="4536504" cy="1872208"/>
          </a:xfrm>
        </p:spPr>
        <p:txBody>
          <a:bodyPr>
            <a:noAutofit/>
          </a:bodyPr>
          <a:lstStyle/>
          <a:p>
            <a:r>
              <a:rPr lang="ru-RU" sz="3600" dirty="0">
                <a:sym typeface="Roboto" pitchFamily="2" charset="0"/>
              </a:rPr>
              <a:t>ТОП-5</a:t>
            </a:r>
            <a:r>
              <a:rPr lang="ru-RU" sz="4000" dirty="0">
                <a:sym typeface="Roboto" pitchFamily="2" charset="0"/>
              </a:rPr>
              <a:t> </a:t>
            </a:r>
            <a:br>
              <a:rPr lang="ru-RU" sz="4000" dirty="0">
                <a:sym typeface="Roboto" pitchFamily="2" charset="0"/>
              </a:rPr>
            </a:br>
            <a:r>
              <a:rPr lang="ru-RU" sz="3000" dirty="0">
                <a:sym typeface="Roboto" pitchFamily="2" charset="0"/>
              </a:rPr>
              <a:t>регионов РФ</a:t>
            </a:r>
            <a:br>
              <a:rPr lang="ru-RU" sz="3000" dirty="0">
                <a:sym typeface="Roboto" pitchFamily="2" charset="0"/>
              </a:rPr>
            </a:br>
            <a:r>
              <a:rPr lang="ru-RU" sz="3000" dirty="0">
                <a:sym typeface="Roboto" pitchFamily="2" charset="0"/>
              </a:rPr>
              <a:t>по товарообороту</a:t>
            </a:r>
          </a:p>
        </p:txBody>
      </p:sp>
      <p:graphicFrame>
        <p:nvGraphicFramePr>
          <p:cNvPr id="5" name="Диаграмма 4"/>
          <p:cNvGraphicFramePr/>
          <p:nvPr>
            <p:extLst>
              <p:ext uri="{D42A27DB-BD31-4B8C-83A1-F6EECF244321}">
                <p14:modId xmlns:p14="http://schemas.microsoft.com/office/powerpoint/2010/main" val="539064859"/>
              </p:ext>
            </p:extLst>
          </p:nvPr>
        </p:nvGraphicFramePr>
        <p:xfrm>
          <a:off x="3467708" y="1368722"/>
          <a:ext cx="8724292" cy="5418667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grpSp>
        <p:nvGrpSpPr>
          <p:cNvPr id="6" name="Group 377"/>
          <p:cNvGrpSpPr>
            <a:grpSpLocks noChangeAspect="1"/>
          </p:cNvGrpSpPr>
          <p:nvPr/>
        </p:nvGrpSpPr>
        <p:grpSpPr bwMode="auto">
          <a:xfrm>
            <a:off x="875420" y="4905164"/>
            <a:ext cx="609121" cy="609896"/>
            <a:chOff x="2649" y="3117"/>
            <a:chExt cx="785" cy="786"/>
          </a:xfrm>
          <a:solidFill>
            <a:srgbClr val="495F17"/>
          </a:solidFill>
        </p:grpSpPr>
        <p:sp>
          <p:nvSpPr>
            <p:cNvPr id="7" name="Freeform 379"/>
            <p:cNvSpPr>
              <a:spLocks/>
            </p:cNvSpPr>
            <p:nvPr/>
          </p:nvSpPr>
          <p:spPr bwMode="auto">
            <a:xfrm>
              <a:off x="2696" y="3117"/>
              <a:ext cx="155" cy="155"/>
            </a:xfrm>
            <a:custGeom>
              <a:avLst/>
              <a:gdLst>
                <a:gd name="T0" fmla="*/ 388 w 776"/>
                <a:gd name="T1" fmla="*/ 0 h 776"/>
                <a:gd name="T2" fmla="*/ 441 w 776"/>
                <a:gd name="T3" fmla="*/ 4 h 776"/>
                <a:gd name="T4" fmla="*/ 491 w 776"/>
                <a:gd name="T5" fmla="*/ 13 h 776"/>
                <a:gd name="T6" fmla="*/ 539 w 776"/>
                <a:gd name="T7" fmla="*/ 30 h 776"/>
                <a:gd name="T8" fmla="*/ 584 w 776"/>
                <a:gd name="T9" fmla="*/ 53 h 776"/>
                <a:gd name="T10" fmla="*/ 624 w 776"/>
                <a:gd name="T11" fmla="*/ 81 h 776"/>
                <a:gd name="T12" fmla="*/ 662 w 776"/>
                <a:gd name="T13" fmla="*/ 113 h 776"/>
                <a:gd name="T14" fmla="*/ 694 w 776"/>
                <a:gd name="T15" fmla="*/ 150 h 776"/>
                <a:gd name="T16" fmla="*/ 723 w 776"/>
                <a:gd name="T17" fmla="*/ 191 h 776"/>
                <a:gd name="T18" fmla="*/ 744 w 776"/>
                <a:gd name="T19" fmla="*/ 237 h 776"/>
                <a:gd name="T20" fmla="*/ 761 w 776"/>
                <a:gd name="T21" fmla="*/ 285 h 776"/>
                <a:gd name="T22" fmla="*/ 772 w 776"/>
                <a:gd name="T23" fmla="*/ 336 h 776"/>
                <a:gd name="T24" fmla="*/ 776 w 776"/>
                <a:gd name="T25" fmla="*/ 387 h 776"/>
                <a:gd name="T26" fmla="*/ 772 w 776"/>
                <a:gd name="T27" fmla="*/ 440 h 776"/>
                <a:gd name="T28" fmla="*/ 761 w 776"/>
                <a:gd name="T29" fmla="*/ 491 h 776"/>
                <a:gd name="T30" fmla="*/ 744 w 776"/>
                <a:gd name="T31" fmla="*/ 539 h 776"/>
                <a:gd name="T32" fmla="*/ 723 w 776"/>
                <a:gd name="T33" fmla="*/ 584 h 776"/>
                <a:gd name="T34" fmla="*/ 694 w 776"/>
                <a:gd name="T35" fmla="*/ 626 h 776"/>
                <a:gd name="T36" fmla="*/ 662 w 776"/>
                <a:gd name="T37" fmla="*/ 662 h 776"/>
                <a:gd name="T38" fmla="*/ 624 w 776"/>
                <a:gd name="T39" fmla="*/ 696 h 776"/>
                <a:gd name="T40" fmla="*/ 584 w 776"/>
                <a:gd name="T41" fmla="*/ 723 h 776"/>
                <a:gd name="T42" fmla="*/ 539 w 776"/>
                <a:gd name="T43" fmla="*/ 746 h 776"/>
                <a:gd name="T44" fmla="*/ 491 w 776"/>
                <a:gd name="T45" fmla="*/ 762 h 776"/>
                <a:gd name="T46" fmla="*/ 441 w 776"/>
                <a:gd name="T47" fmla="*/ 773 h 776"/>
                <a:gd name="T48" fmla="*/ 388 w 776"/>
                <a:gd name="T49" fmla="*/ 776 h 776"/>
                <a:gd name="T50" fmla="*/ 335 w 776"/>
                <a:gd name="T51" fmla="*/ 773 h 776"/>
                <a:gd name="T52" fmla="*/ 285 w 776"/>
                <a:gd name="T53" fmla="*/ 762 h 776"/>
                <a:gd name="T54" fmla="*/ 237 w 776"/>
                <a:gd name="T55" fmla="*/ 746 h 776"/>
                <a:gd name="T56" fmla="*/ 192 w 776"/>
                <a:gd name="T57" fmla="*/ 723 h 776"/>
                <a:gd name="T58" fmla="*/ 152 w 776"/>
                <a:gd name="T59" fmla="*/ 696 h 776"/>
                <a:gd name="T60" fmla="*/ 114 w 776"/>
                <a:gd name="T61" fmla="*/ 662 h 776"/>
                <a:gd name="T62" fmla="*/ 82 w 776"/>
                <a:gd name="T63" fmla="*/ 626 h 776"/>
                <a:gd name="T64" fmla="*/ 53 w 776"/>
                <a:gd name="T65" fmla="*/ 584 h 776"/>
                <a:gd name="T66" fmla="*/ 31 w 776"/>
                <a:gd name="T67" fmla="*/ 539 h 776"/>
                <a:gd name="T68" fmla="*/ 15 w 776"/>
                <a:gd name="T69" fmla="*/ 491 h 776"/>
                <a:gd name="T70" fmla="*/ 4 w 776"/>
                <a:gd name="T71" fmla="*/ 440 h 776"/>
                <a:gd name="T72" fmla="*/ 0 w 776"/>
                <a:gd name="T73" fmla="*/ 387 h 776"/>
                <a:gd name="T74" fmla="*/ 4 w 776"/>
                <a:gd name="T75" fmla="*/ 336 h 776"/>
                <a:gd name="T76" fmla="*/ 15 w 776"/>
                <a:gd name="T77" fmla="*/ 285 h 776"/>
                <a:gd name="T78" fmla="*/ 31 w 776"/>
                <a:gd name="T79" fmla="*/ 237 h 776"/>
                <a:gd name="T80" fmla="*/ 53 w 776"/>
                <a:gd name="T81" fmla="*/ 191 h 776"/>
                <a:gd name="T82" fmla="*/ 82 w 776"/>
                <a:gd name="T83" fmla="*/ 150 h 776"/>
                <a:gd name="T84" fmla="*/ 114 w 776"/>
                <a:gd name="T85" fmla="*/ 113 h 776"/>
                <a:gd name="T86" fmla="*/ 152 w 776"/>
                <a:gd name="T87" fmla="*/ 81 h 776"/>
                <a:gd name="T88" fmla="*/ 192 w 776"/>
                <a:gd name="T89" fmla="*/ 53 h 776"/>
                <a:gd name="T90" fmla="*/ 237 w 776"/>
                <a:gd name="T91" fmla="*/ 30 h 776"/>
                <a:gd name="T92" fmla="*/ 285 w 776"/>
                <a:gd name="T93" fmla="*/ 13 h 776"/>
                <a:gd name="T94" fmla="*/ 335 w 776"/>
                <a:gd name="T95" fmla="*/ 4 h 776"/>
                <a:gd name="T96" fmla="*/ 388 w 776"/>
                <a:gd name="T97" fmla="*/ 0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6" h="776">
                  <a:moveTo>
                    <a:pt x="388" y="0"/>
                  </a:moveTo>
                  <a:lnTo>
                    <a:pt x="441" y="4"/>
                  </a:lnTo>
                  <a:lnTo>
                    <a:pt x="491" y="13"/>
                  </a:lnTo>
                  <a:lnTo>
                    <a:pt x="539" y="30"/>
                  </a:lnTo>
                  <a:lnTo>
                    <a:pt x="584" y="53"/>
                  </a:lnTo>
                  <a:lnTo>
                    <a:pt x="624" y="81"/>
                  </a:lnTo>
                  <a:lnTo>
                    <a:pt x="662" y="113"/>
                  </a:lnTo>
                  <a:lnTo>
                    <a:pt x="694" y="150"/>
                  </a:lnTo>
                  <a:lnTo>
                    <a:pt x="723" y="191"/>
                  </a:lnTo>
                  <a:lnTo>
                    <a:pt x="744" y="237"/>
                  </a:lnTo>
                  <a:lnTo>
                    <a:pt x="761" y="285"/>
                  </a:lnTo>
                  <a:lnTo>
                    <a:pt x="772" y="336"/>
                  </a:lnTo>
                  <a:lnTo>
                    <a:pt x="776" y="387"/>
                  </a:lnTo>
                  <a:lnTo>
                    <a:pt x="772" y="440"/>
                  </a:lnTo>
                  <a:lnTo>
                    <a:pt x="761" y="491"/>
                  </a:lnTo>
                  <a:lnTo>
                    <a:pt x="744" y="539"/>
                  </a:lnTo>
                  <a:lnTo>
                    <a:pt x="723" y="584"/>
                  </a:lnTo>
                  <a:lnTo>
                    <a:pt x="694" y="626"/>
                  </a:lnTo>
                  <a:lnTo>
                    <a:pt x="662" y="662"/>
                  </a:lnTo>
                  <a:lnTo>
                    <a:pt x="624" y="696"/>
                  </a:lnTo>
                  <a:lnTo>
                    <a:pt x="584" y="723"/>
                  </a:lnTo>
                  <a:lnTo>
                    <a:pt x="539" y="746"/>
                  </a:lnTo>
                  <a:lnTo>
                    <a:pt x="491" y="762"/>
                  </a:lnTo>
                  <a:lnTo>
                    <a:pt x="441" y="773"/>
                  </a:lnTo>
                  <a:lnTo>
                    <a:pt x="388" y="776"/>
                  </a:lnTo>
                  <a:lnTo>
                    <a:pt x="335" y="773"/>
                  </a:lnTo>
                  <a:lnTo>
                    <a:pt x="285" y="762"/>
                  </a:lnTo>
                  <a:lnTo>
                    <a:pt x="237" y="746"/>
                  </a:lnTo>
                  <a:lnTo>
                    <a:pt x="192" y="723"/>
                  </a:lnTo>
                  <a:lnTo>
                    <a:pt x="152" y="696"/>
                  </a:lnTo>
                  <a:lnTo>
                    <a:pt x="114" y="662"/>
                  </a:lnTo>
                  <a:lnTo>
                    <a:pt x="82" y="626"/>
                  </a:lnTo>
                  <a:lnTo>
                    <a:pt x="53" y="584"/>
                  </a:lnTo>
                  <a:lnTo>
                    <a:pt x="31" y="539"/>
                  </a:lnTo>
                  <a:lnTo>
                    <a:pt x="15" y="491"/>
                  </a:lnTo>
                  <a:lnTo>
                    <a:pt x="4" y="440"/>
                  </a:lnTo>
                  <a:lnTo>
                    <a:pt x="0" y="387"/>
                  </a:lnTo>
                  <a:lnTo>
                    <a:pt x="4" y="336"/>
                  </a:lnTo>
                  <a:lnTo>
                    <a:pt x="15" y="285"/>
                  </a:lnTo>
                  <a:lnTo>
                    <a:pt x="31" y="237"/>
                  </a:lnTo>
                  <a:lnTo>
                    <a:pt x="53" y="191"/>
                  </a:lnTo>
                  <a:lnTo>
                    <a:pt x="82" y="150"/>
                  </a:lnTo>
                  <a:lnTo>
                    <a:pt x="114" y="113"/>
                  </a:lnTo>
                  <a:lnTo>
                    <a:pt x="152" y="81"/>
                  </a:lnTo>
                  <a:lnTo>
                    <a:pt x="192" y="53"/>
                  </a:lnTo>
                  <a:lnTo>
                    <a:pt x="237" y="30"/>
                  </a:lnTo>
                  <a:lnTo>
                    <a:pt x="285" y="13"/>
                  </a:lnTo>
                  <a:lnTo>
                    <a:pt x="335" y="4"/>
                  </a:lnTo>
                  <a:lnTo>
                    <a:pt x="3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8" name="Freeform 380"/>
            <p:cNvSpPr>
              <a:spLocks/>
            </p:cNvSpPr>
            <p:nvPr/>
          </p:nvSpPr>
          <p:spPr bwMode="auto">
            <a:xfrm>
              <a:off x="2649" y="3301"/>
              <a:ext cx="249" cy="436"/>
            </a:xfrm>
            <a:custGeom>
              <a:avLst/>
              <a:gdLst>
                <a:gd name="T0" fmla="*/ 1056 w 1248"/>
                <a:gd name="T1" fmla="*/ 0 h 2179"/>
                <a:gd name="T2" fmla="*/ 1123 w 1248"/>
                <a:gd name="T3" fmla="*/ 12 h 2179"/>
                <a:gd name="T4" fmla="*/ 1180 w 1248"/>
                <a:gd name="T5" fmla="*/ 45 h 2179"/>
                <a:gd name="T6" fmla="*/ 1222 w 1248"/>
                <a:gd name="T7" fmla="*/ 95 h 2179"/>
                <a:gd name="T8" fmla="*/ 1245 w 1248"/>
                <a:gd name="T9" fmla="*/ 157 h 2179"/>
                <a:gd name="T10" fmla="*/ 1248 w 1248"/>
                <a:gd name="T11" fmla="*/ 269 h 2179"/>
                <a:gd name="T12" fmla="*/ 1153 w 1248"/>
                <a:gd name="T13" fmla="*/ 324 h 2179"/>
                <a:gd name="T14" fmla="*/ 1073 w 1248"/>
                <a:gd name="T15" fmla="*/ 399 h 2179"/>
                <a:gd name="T16" fmla="*/ 1013 w 1248"/>
                <a:gd name="T17" fmla="*/ 490 h 2179"/>
                <a:gd name="T18" fmla="*/ 973 w 1248"/>
                <a:gd name="T19" fmla="*/ 595 h 2179"/>
                <a:gd name="T20" fmla="*/ 960 w 1248"/>
                <a:gd name="T21" fmla="*/ 708 h 2179"/>
                <a:gd name="T22" fmla="*/ 962 w 1248"/>
                <a:gd name="T23" fmla="*/ 1764 h 2179"/>
                <a:gd name="T24" fmla="*/ 982 w 1248"/>
                <a:gd name="T25" fmla="*/ 1856 h 2179"/>
                <a:gd name="T26" fmla="*/ 1018 w 1248"/>
                <a:gd name="T27" fmla="*/ 1940 h 2179"/>
                <a:gd name="T28" fmla="*/ 1014 w 1248"/>
                <a:gd name="T29" fmla="*/ 2020 h 2179"/>
                <a:gd name="T30" fmla="*/ 991 w 1248"/>
                <a:gd name="T31" fmla="*/ 2082 h 2179"/>
                <a:gd name="T32" fmla="*/ 949 w 1248"/>
                <a:gd name="T33" fmla="*/ 2133 h 2179"/>
                <a:gd name="T34" fmla="*/ 893 w 1248"/>
                <a:gd name="T35" fmla="*/ 2167 h 2179"/>
                <a:gd name="T36" fmla="*/ 826 w 1248"/>
                <a:gd name="T37" fmla="*/ 2179 h 2179"/>
                <a:gd name="T38" fmla="*/ 388 w 1248"/>
                <a:gd name="T39" fmla="*/ 2175 h 2179"/>
                <a:gd name="T40" fmla="*/ 325 w 1248"/>
                <a:gd name="T41" fmla="*/ 2152 h 2179"/>
                <a:gd name="T42" fmla="*/ 276 w 1248"/>
                <a:gd name="T43" fmla="*/ 2110 h 2179"/>
                <a:gd name="T44" fmla="*/ 242 w 1248"/>
                <a:gd name="T45" fmla="*/ 2052 h 2179"/>
                <a:gd name="T46" fmla="*/ 230 w 1248"/>
                <a:gd name="T47" fmla="*/ 1986 h 2179"/>
                <a:gd name="T48" fmla="*/ 192 w 1248"/>
                <a:gd name="T49" fmla="*/ 1216 h 2179"/>
                <a:gd name="T50" fmla="*/ 123 w 1248"/>
                <a:gd name="T51" fmla="*/ 1204 h 2179"/>
                <a:gd name="T52" fmla="*/ 67 w 1248"/>
                <a:gd name="T53" fmla="*/ 1170 h 2179"/>
                <a:gd name="T54" fmla="*/ 25 w 1248"/>
                <a:gd name="T55" fmla="*/ 1120 h 2179"/>
                <a:gd name="T56" fmla="*/ 2 w 1248"/>
                <a:gd name="T57" fmla="*/ 1057 h 2179"/>
                <a:gd name="T58" fmla="*/ 0 w 1248"/>
                <a:gd name="T59" fmla="*/ 192 h 2179"/>
                <a:gd name="T60" fmla="*/ 12 w 1248"/>
                <a:gd name="T61" fmla="*/ 125 h 2179"/>
                <a:gd name="T62" fmla="*/ 45 w 1248"/>
                <a:gd name="T63" fmla="*/ 68 h 2179"/>
                <a:gd name="T64" fmla="*/ 95 w 1248"/>
                <a:gd name="T65" fmla="*/ 26 h 2179"/>
                <a:gd name="T66" fmla="*/ 157 w 1248"/>
                <a:gd name="T67" fmla="*/ 3 h 2179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8" h="2179">
                  <a:moveTo>
                    <a:pt x="192" y="0"/>
                  </a:moveTo>
                  <a:lnTo>
                    <a:pt x="1056" y="0"/>
                  </a:lnTo>
                  <a:lnTo>
                    <a:pt x="1091" y="3"/>
                  </a:lnTo>
                  <a:lnTo>
                    <a:pt x="1123" y="12"/>
                  </a:lnTo>
                  <a:lnTo>
                    <a:pt x="1153" y="26"/>
                  </a:lnTo>
                  <a:lnTo>
                    <a:pt x="1180" y="45"/>
                  </a:lnTo>
                  <a:lnTo>
                    <a:pt x="1203" y="68"/>
                  </a:lnTo>
                  <a:lnTo>
                    <a:pt x="1222" y="95"/>
                  </a:lnTo>
                  <a:lnTo>
                    <a:pt x="1236" y="125"/>
                  </a:lnTo>
                  <a:lnTo>
                    <a:pt x="1245" y="157"/>
                  </a:lnTo>
                  <a:lnTo>
                    <a:pt x="1248" y="192"/>
                  </a:lnTo>
                  <a:lnTo>
                    <a:pt x="1248" y="269"/>
                  </a:lnTo>
                  <a:lnTo>
                    <a:pt x="1199" y="294"/>
                  </a:lnTo>
                  <a:lnTo>
                    <a:pt x="1153" y="324"/>
                  </a:lnTo>
                  <a:lnTo>
                    <a:pt x="1111" y="359"/>
                  </a:lnTo>
                  <a:lnTo>
                    <a:pt x="1073" y="399"/>
                  </a:lnTo>
                  <a:lnTo>
                    <a:pt x="1041" y="444"/>
                  </a:lnTo>
                  <a:lnTo>
                    <a:pt x="1013" y="490"/>
                  </a:lnTo>
                  <a:lnTo>
                    <a:pt x="990" y="541"/>
                  </a:lnTo>
                  <a:lnTo>
                    <a:pt x="973" y="595"/>
                  </a:lnTo>
                  <a:lnTo>
                    <a:pt x="964" y="651"/>
                  </a:lnTo>
                  <a:lnTo>
                    <a:pt x="960" y="708"/>
                  </a:lnTo>
                  <a:lnTo>
                    <a:pt x="960" y="1717"/>
                  </a:lnTo>
                  <a:lnTo>
                    <a:pt x="962" y="1764"/>
                  </a:lnTo>
                  <a:lnTo>
                    <a:pt x="970" y="1811"/>
                  </a:lnTo>
                  <a:lnTo>
                    <a:pt x="982" y="1856"/>
                  </a:lnTo>
                  <a:lnTo>
                    <a:pt x="999" y="1900"/>
                  </a:lnTo>
                  <a:lnTo>
                    <a:pt x="1018" y="1940"/>
                  </a:lnTo>
                  <a:lnTo>
                    <a:pt x="1018" y="1986"/>
                  </a:lnTo>
                  <a:lnTo>
                    <a:pt x="1014" y="2020"/>
                  </a:lnTo>
                  <a:lnTo>
                    <a:pt x="1006" y="2052"/>
                  </a:lnTo>
                  <a:lnTo>
                    <a:pt x="991" y="2082"/>
                  </a:lnTo>
                  <a:lnTo>
                    <a:pt x="972" y="2110"/>
                  </a:lnTo>
                  <a:lnTo>
                    <a:pt x="949" y="2133"/>
                  </a:lnTo>
                  <a:lnTo>
                    <a:pt x="923" y="2152"/>
                  </a:lnTo>
                  <a:lnTo>
                    <a:pt x="893" y="2167"/>
                  </a:lnTo>
                  <a:lnTo>
                    <a:pt x="860" y="2175"/>
                  </a:lnTo>
                  <a:lnTo>
                    <a:pt x="826" y="2179"/>
                  </a:lnTo>
                  <a:lnTo>
                    <a:pt x="422" y="2179"/>
                  </a:lnTo>
                  <a:lnTo>
                    <a:pt x="388" y="2175"/>
                  </a:lnTo>
                  <a:lnTo>
                    <a:pt x="355" y="2167"/>
                  </a:lnTo>
                  <a:lnTo>
                    <a:pt x="325" y="2152"/>
                  </a:lnTo>
                  <a:lnTo>
                    <a:pt x="299" y="2133"/>
                  </a:lnTo>
                  <a:lnTo>
                    <a:pt x="276" y="2110"/>
                  </a:lnTo>
                  <a:lnTo>
                    <a:pt x="257" y="2082"/>
                  </a:lnTo>
                  <a:lnTo>
                    <a:pt x="242" y="2052"/>
                  </a:lnTo>
                  <a:lnTo>
                    <a:pt x="234" y="2020"/>
                  </a:lnTo>
                  <a:lnTo>
                    <a:pt x="230" y="1986"/>
                  </a:lnTo>
                  <a:lnTo>
                    <a:pt x="230" y="1216"/>
                  </a:lnTo>
                  <a:lnTo>
                    <a:pt x="192" y="1216"/>
                  </a:lnTo>
                  <a:lnTo>
                    <a:pt x="157" y="1212"/>
                  </a:lnTo>
                  <a:lnTo>
                    <a:pt x="123" y="1204"/>
                  </a:lnTo>
                  <a:lnTo>
                    <a:pt x="93" y="1190"/>
                  </a:lnTo>
                  <a:lnTo>
                    <a:pt x="67" y="1170"/>
                  </a:lnTo>
                  <a:lnTo>
                    <a:pt x="44" y="1147"/>
                  </a:lnTo>
                  <a:lnTo>
                    <a:pt x="25" y="1120"/>
                  </a:lnTo>
                  <a:lnTo>
                    <a:pt x="12" y="1090"/>
                  </a:lnTo>
                  <a:lnTo>
                    <a:pt x="2" y="1057"/>
                  </a:lnTo>
                  <a:lnTo>
                    <a:pt x="0" y="1024"/>
                  </a:lnTo>
                  <a:lnTo>
                    <a:pt x="0" y="192"/>
                  </a:lnTo>
                  <a:lnTo>
                    <a:pt x="3" y="157"/>
                  </a:lnTo>
                  <a:lnTo>
                    <a:pt x="12" y="125"/>
                  </a:lnTo>
                  <a:lnTo>
                    <a:pt x="26" y="95"/>
                  </a:lnTo>
                  <a:lnTo>
                    <a:pt x="45" y="68"/>
                  </a:lnTo>
                  <a:lnTo>
                    <a:pt x="68" y="45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7" y="3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9" name="Freeform 381"/>
            <p:cNvSpPr>
              <a:spLocks/>
            </p:cNvSpPr>
            <p:nvPr/>
          </p:nvSpPr>
          <p:spPr bwMode="auto">
            <a:xfrm>
              <a:off x="3233" y="3117"/>
              <a:ext cx="154" cy="155"/>
            </a:xfrm>
            <a:custGeom>
              <a:avLst/>
              <a:gdLst>
                <a:gd name="T0" fmla="*/ 388 w 774"/>
                <a:gd name="T1" fmla="*/ 0 h 776"/>
                <a:gd name="T2" fmla="*/ 439 w 774"/>
                <a:gd name="T3" fmla="*/ 4 h 776"/>
                <a:gd name="T4" fmla="*/ 490 w 774"/>
                <a:gd name="T5" fmla="*/ 13 h 776"/>
                <a:gd name="T6" fmla="*/ 538 w 774"/>
                <a:gd name="T7" fmla="*/ 30 h 776"/>
                <a:gd name="T8" fmla="*/ 583 w 774"/>
                <a:gd name="T9" fmla="*/ 53 h 776"/>
                <a:gd name="T10" fmla="*/ 624 w 774"/>
                <a:gd name="T11" fmla="*/ 81 h 776"/>
                <a:gd name="T12" fmla="*/ 661 w 774"/>
                <a:gd name="T13" fmla="*/ 113 h 776"/>
                <a:gd name="T14" fmla="*/ 694 w 774"/>
                <a:gd name="T15" fmla="*/ 150 h 776"/>
                <a:gd name="T16" fmla="*/ 722 w 774"/>
                <a:gd name="T17" fmla="*/ 191 h 776"/>
                <a:gd name="T18" fmla="*/ 744 w 774"/>
                <a:gd name="T19" fmla="*/ 237 h 776"/>
                <a:gd name="T20" fmla="*/ 761 w 774"/>
                <a:gd name="T21" fmla="*/ 285 h 776"/>
                <a:gd name="T22" fmla="*/ 771 w 774"/>
                <a:gd name="T23" fmla="*/ 336 h 776"/>
                <a:gd name="T24" fmla="*/ 774 w 774"/>
                <a:gd name="T25" fmla="*/ 387 h 776"/>
                <a:gd name="T26" fmla="*/ 771 w 774"/>
                <a:gd name="T27" fmla="*/ 440 h 776"/>
                <a:gd name="T28" fmla="*/ 761 w 774"/>
                <a:gd name="T29" fmla="*/ 491 h 776"/>
                <a:gd name="T30" fmla="*/ 744 w 774"/>
                <a:gd name="T31" fmla="*/ 539 h 776"/>
                <a:gd name="T32" fmla="*/ 722 w 774"/>
                <a:gd name="T33" fmla="*/ 584 h 776"/>
                <a:gd name="T34" fmla="*/ 694 w 774"/>
                <a:gd name="T35" fmla="*/ 626 h 776"/>
                <a:gd name="T36" fmla="*/ 661 w 774"/>
                <a:gd name="T37" fmla="*/ 662 h 776"/>
                <a:gd name="T38" fmla="*/ 624 w 774"/>
                <a:gd name="T39" fmla="*/ 696 h 776"/>
                <a:gd name="T40" fmla="*/ 583 w 774"/>
                <a:gd name="T41" fmla="*/ 723 h 776"/>
                <a:gd name="T42" fmla="*/ 538 w 774"/>
                <a:gd name="T43" fmla="*/ 746 h 776"/>
                <a:gd name="T44" fmla="*/ 490 w 774"/>
                <a:gd name="T45" fmla="*/ 762 h 776"/>
                <a:gd name="T46" fmla="*/ 439 w 774"/>
                <a:gd name="T47" fmla="*/ 773 h 776"/>
                <a:gd name="T48" fmla="*/ 388 w 774"/>
                <a:gd name="T49" fmla="*/ 776 h 776"/>
                <a:gd name="T50" fmla="*/ 335 w 774"/>
                <a:gd name="T51" fmla="*/ 773 h 776"/>
                <a:gd name="T52" fmla="*/ 285 w 774"/>
                <a:gd name="T53" fmla="*/ 762 h 776"/>
                <a:gd name="T54" fmla="*/ 237 w 774"/>
                <a:gd name="T55" fmla="*/ 746 h 776"/>
                <a:gd name="T56" fmla="*/ 192 w 774"/>
                <a:gd name="T57" fmla="*/ 723 h 776"/>
                <a:gd name="T58" fmla="*/ 151 w 774"/>
                <a:gd name="T59" fmla="*/ 696 h 776"/>
                <a:gd name="T60" fmla="*/ 114 w 774"/>
                <a:gd name="T61" fmla="*/ 662 h 776"/>
                <a:gd name="T62" fmla="*/ 81 w 774"/>
                <a:gd name="T63" fmla="*/ 626 h 776"/>
                <a:gd name="T64" fmla="*/ 53 w 774"/>
                <a:gd name="T65" fmla="*/ 584 h 776"/>
                <a:gd name="T66" fmla="*/ 30 w 774"/>
                <a:gd name="T67" fmla="*/ 539 h 776"/>
                <a:gd name="T68" fmla="*/ 14 w 774"/>
                <a:gd name="T69" fmla="*/ 491 h 776"/>
                <a:gd name="T70" fmla="*/ 4 w 774"/>
                <a:gd name="T71" fmla="*/ 440 h 776"/>
                <a:gd name="T72" fmla="*/ 0 w 774"/>
                <a:gd name="T73" fmla="*/ 387 h 776"/>
                <a:gd name="T74" fmla="*/ 4 w 774"/>
                <a:gd name="T75" fmla="*/ 336 h 776"/>
                <a:gd name="T76" fmla="*/ 14 w 774"/>
                <a:gd name="T77" fmla="*/ 285 h 776"/>
                <a:gd name="T78" fmla="*/ 30 w 774"/>
                <a:gd name="T79" fmla="*/ 237 h 776"/>
                <a:gd name="T80" fmla="*/ 53 w 774"/>
                <a:gd name="T81" fmla="*/ 191 h 776"/>
                <a:gd name="T82" fmla="*/ 81 w 774"/>
                <a:gd name="T83" fmla="*/ 150 h 776"/>
                <a:gd name="T84" fmla="*/ 114 w 774"/>
                <a:gd name="T85" fmla="*/ 113 h 776"/>
                <a:gd name="T86" fmla="*/ 151 w 774"/>
                <a:gd name="T87" fmla="*/ 81 h 776"/>
                <a:gd name="T88" fmla="*/ 192 w 774"/>
                <a:gd name="T89" fmla="*/ 53 h 776"/>
                <a:gd name="T90" fmla="*/ 237 w 774"/>
                <a:gd name="T91" fmla="*/ 30 h 776"/>
                <a:gd name="T92" fmla="*/ 285 w 774"/>
                <a:gd name="T93" fmla="*/ 13 h 776"/>
                <a:gd name="T94" fmla="*/ 335 w 774"/>
                <a:gd name="T95" fmla="*/ 4 h 776"/>
                <a:gd name="T96" fmla="*/ 388 w 774"/>
                <a:gd name="T97" fmla="*/ 0 h 776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</a:cxnLst>
              <a:rect l="0" t="0" r="r" b="b"/>
              <a:pathLst>
                <a:path w="774" h="776">
                  <a:moveTo>
                    <a:pt x="388" y="0"/>
                  </a:moveTo>
                  <a:lnTo>
                    <a:pt x="439" y="4"/>
                  </a:lnTo>
                  <a:lnTo>
                    <a:pt x="490" y="13"/>
                  </a:lnTo>
                  <a:lnTo>
                    <a:pt x="538" y="30"/>
                  </a:lnTo>
                  <a:lnTo>
                    <a:pt x="583" y="53"/>
                  </a:lnTo>
                  <a:lnTo>
                    <a:pt x="624" y="81"/>
                  </a:lnTo>
                  <a:lnTo>
                    <a:pt x="661" y="113"/>
                  </a:lnTo>
                  <a:lnTo>
                    <a:pt x="694" y="150"/>
                  </a:lnTo>
                  <a:lnTo>
                    <a:pt x="722" y="191"/>
                  </a:lnTo>
                  <a:lnTo>
                    <a:pt x="744" y="237"/>
                  </a:lnTo>
                  <a:lnTo>
                    <a:pt x="761" y="285"/>
                  </a:lnTo>
                  <a:lnTo>
                    <a:pt x="771" y="336"/>
                  </a:lnTo>
                  <a:lnTo>
                    <a:pt x="774" y="387"/>
                  </a:lnTo>
                  <a:lnTo>
                    <a:pt x="771" y="440"/>
                  </a:lnTo>
                  <a:lnTo>
                    <a:pt x="761" y="491"/>
                  </a:lnTo>
                  <a:lnTo>
                    <a:pt x="744" y="539"/>
                  </a:lnTo>
                  <a:lnTo>
                    <a:pt x="722" y="584"/>
                  </a:lnTo>
                  <a:lnTo>
                    <a:pt x="694" y="626"/>
                  </a:lnTo>
                  <a:lnTo>
                    <a:pt x="661" y="662"/>
                  </a:lnTo>
                  <a:lnTo>
                    <a:pt x="624" y="696"/>
                  </a:lnTo>
                  <a:lnTo>
                    <a:pt x="583" y="723"/>
                  </a:lnTo>
                  <a:lnTo>
                    <a:pt x="538" y="746"/>
                  </a:lnTo>
                  <a:lnTo>
                    <a:pt x="490" y="762"/>
                  </a:lnTo>
                  <a:lnTo>
                    <a:pt x="439" y="773"/>
                  </a:lnTo>
                  <a:lnTo>
                    <a:pt x="388" y="776"/>
                  </a:lnTo>
                  <a:lnTo>
                    <a:pt x="335" y="773"/>
                  </a:lnTo>
                  <a:lnTo>
                    <a:pt x="285" y="762"/>
                  </a:lnTo>
                  <a:lnTo>
                    <a:pt x="237" y="746"/>
                  </a:lnTo>
                  <a:lnTo>
                    <a:pt x="192" y="723"/>
                  </a:lnTo>
                  <a:lnTo>
                    <a:pt x="151" y="696"/>
                  </a:lnTo>
                  <a:lnTo>
                    <a:pt x="114" y="662"/>
                  </a:lnTo>
                  <a:lnTo>
                    <a:pt x="81" y="626"/>
                  </a:lnTo>
                  <a:lnTo>
                    <a:pt x="53" y="584"/>
                  </a:lnTo>
                  <a:lnTo>
                    <a:pt x="30" y="539"/>
                  </a:lnTo>
                  <a:lnTo>
                    <a:pt x="14" y="491"/>
                  </a:lnTo>
                  <a:lnTo>
                    <a:pt x="4" y="440"/>
                  </a:lnTo>
                  <a:lnTo>
                    <a:pt x="0" y="387"/>
                  </a:lnTo>
                  <a:lnTo>
                    <a:pt x="4" y="336"/>
                  </a:lnTo>
                  <a:lnTo>
                    <a:pt x="14" y="285"/>
                  </a:lnTo>
                  <a:lnTo>
                    <a:pt x="30" y="237"/>
                  </a:lnTo>
                  <a:lnTo>
                    <a:pt x="53" y="191"/>
                  </a:lnTo>
                  <a:lnTo>
                    <a:pt x="81" y="150"/>
                  </a:lnTo>
                  <a:lnTo>
                    <a:pt x="114" y="113"/>
                  </a:lnTo>
                  <a:lnTo>
                    <a:pt x="151" y="81"/>
                  </a:lnTo>
                  <a:lnTo>
                    <a:pt x="192" y="53"/>
                  </a:lnTo>
                  <a:lnTo>
                    <a:pt x="237" y="30"/>
                  </a:lnTo>
                  <a:lnTo>
                    <a:pt x="285" y="13"/>
                  </a:lnTo>
                  <a:lnTo>
                    <a:pt x="335" y="4"/>
                  </a:lnTo>
                  <a:lnTo>
                    <a:pt x="38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11" name="Freeform 382"/>
            <p:cNvSpPr>
              <a:spLocks/>
            </p:cNvSpPr>
            <p:nvPr/>
          </p:nvSpPr>
          <p:spPr bwMode="auto">
            <a:xfrm>
              <a:off x="3185" y="3300"/>
              <a:ext cx="249" cy="435"/>
            </a:xfrm>
            <a:custGeom>
              <a:avLst/>
              <a:gdLst>
                <a:gd name="T0" fmla="*/ 1056 w 1248"/>
                <a:gd name="T1" fmla="*/ 0 h 2175"/>
                <a:gd name="T2" fmla="*/ 1124 w 1248"/>
                <a:gd name="T3" fmla="*/ 12 h 2175"/>
                <a:gd name="T4" fmla="*/ 1180 w 1248"/>
                <a:gd name="T5" fmla="*/ 46 h 2175"/>
                <a:gd name="T6" fmla="*/ 1222 w 1248"/>
                <a:gd name="T7" fmla="*/ 96 h 2175"/>
                <a:gd name="T8" fmla="*/ 1245 w 1248"/>
                <a:gd name="T9" fmla="*/ 159 h 2175"/>
                <a:gd name="T10" fmla="*/ 1248 w 1248"/>
                <a:gd name="T11" fmla="*/ 1020 h 2175"/>
                <a:gd name="T12" fmla="*/ 1236 w 1248"/>
                <a:gd name="T13" fmla="*/ 1088 h 2175"/>
                <a:gd name="T14" fmla="*/ 1203 w 1248"/>
                <a:gd name="T15" fmla="*/ 1144 h 2175"/>
                <a:gd name="T16" fmla="*/ 1154 w 1248"/>
                <a:gd name="T17" fmla="*/ 1186 h 2175"/>
                <a:gd name="T18" fmla="*/ 1091 w 1248"/>
                <a:gd name="T19" fmla="*/ 1210 h 2175"/>
                <a:gd name="T20" fmla="*/ 1018 w 1248"/>
                <a:gd name="T21" fmla="*/ 1213 h 2175"/>
                <a:gd name="T22" fmla="*/ 1014 w 1248"/>
                <a:gd name="T23" fmla="*/ 2018 h 2175"/>
                <a:gd name="T24" fmla="*/ 992 w 1248"/>
                <a:gd name="T25" fmla="*/ 2080 h 2175"/>
                <a:gd name="T26" fmla="*/ 949 w 1248"/>
                <a:gd name="T27" fmla="*/ 2131 h 2175"/>
                <a:gd name="T28" fmla="*/ 893 w 1248"/>
                <a:gd name="T29" fmla="*/ 2163 h 2175"/>
                <a:gd name="T30" fmla="*/ 826 w 1248"/>
                <a:gd name="T31" fmla="*/ 2175 h 2175"/>
                <a:gd name="T32" fmla="*/ 388 w 1248"/>
                <a:gd name="T33" fmla="*/ 2173 h 2175"/>
                <a:gd name="T34" fmla="*/ 325 w 1248"/>
                <a:gd name="T35" fmla="*/ 2149 h 2175"/>
                <a:gd name="T36" fmla="*/ 276 w 1248"/>
                <a:gd name="T37" fmla="*/ 2107 h 2175"/>
                <a:gd name="T38" fmla="*/ 242 w 1248"/>
                <a:gd name="T39" fmla="*/ 2050 h 2175"/>
                <a:gd name="T40" fmla="*/ 230 w 1248"/>
                <a:gd name="T41" fmla="*/ 1983 h 2175"/>
                <a:gd name="T42" fmla="*/ 251 w 1248"/>
                <a:gd name="T43" fmla="*/ 1896 h 2175"/>
                <a:gd name="T44" fmla="*/ 278 w 1248"/>
                <a:gd name="T45" fmla="*/ 1808 h 2175"/>
                <a:gd name="T46" fmla="*/ 288 w 1248"/>
                <a:gd name="T47" fmla="*/ 1713 h 2175"/>
                <a:gd name="T48" fmla="*/ 284 w 1248"/>
                <a:gd name="T49" fmla="*/ 652 h 2175"/>
                <a:gd name="T50" fmla="*/ 258 w 1248"/>
                <a:gd name="T51" fmla="*/ 543 h 2175"/>
                <a:gd name="T52" fmla="*/ 208 w 1248"/>
                <a:gd name="T53" fmla="*/ 444 h 2175"/>
                <a:gd name="T54" fmla="*/ 137 w 1248"/>
                <a:gd name="T55" fmla="*/ 361 h 2175"/>
                <a:gd name="T56" fmla="*/ 49 w 1248"/>
                <a:gd name="T57" fmla="*/ 295 h 2175"/>
                <a:gd name="T58" fmla="*/ 0 w 1248"/>
                <a:gd name="T59" fmla="*/ 192 h 2175"/>
                <a:gd name="T60" fmla="*/ 12 w 1248"/>
                <a:gd name="T61" fmla="*/ 126 h 2175"/>
                <a:gd name="T62" fmla="*/ 46 w 1248"/>
                <a:gd name="T63" fmla="*/ 69 h 2175"/>
                <a:gd name="T64" fmla="*/ 95 w 1248"/>
                <a:gd name="T65" fmla="*/ 26 h 2175"/>
                <a:gd name="T66" fmla="*/ 157 w 1248"/>
                <a:gd name="T67" fmla="*/ 4 h 2175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1248" h="2175">
                  <a:moveTo>
                    <a:pt x="192" y="0"/>
                  </a:moveTo>
                  <a:lnTo>
                    <a:pt x="1056" y="0"/>
                  </a:lnTo>
                  <a:lnTo>
                    <a:pt x="1091" y="4"/>
                  </a:lnTo>
                  <a:lnTo>
                    <a:pt x="1124" y="12"/>
                  </a:lnTo>
                  <a:lnTo>
                    <a:pt x="1154" y="26"/>
                  </a:lnTo>
                  <a:lnTo>
                    <a:pt x="1180" y="46"/>
                  </a:lnTo>
                  <a:lnTo>
                    <a:pt x="1203" y="69"/>
                  </a:lnTo>
                  <a:lnTo>
                    <a:pt x="1222" y="96"/>
                  </a:lnTo>
                  <a:lnTo>
                    <a:pt x="1236" y="126"/>
                  </a:lnTo>
                  <a:lnTo>
                    <a:pt x="1245" y="159"/>
                  </a:lnTo>
                  <a:lnTo>
                    <a:pt x="1248" y="192"/>
                  </a:lnTo>
                  <a:lnTo>
                    <a:pt x="1248" y="1020"/>
                  </a:lnTo>
                  <a:lnTo>
                    <a:pt x="1245" y="1055"/>
                  </a:lnTo>
                  <a:lnTo>
                    <a:pt x="1236" y="1088"/>
                  </a:lnTo>
                  <a:lnTo>
                    <a:pt x="1222" y="1118"/>
                  </a:lnTo>
                  <a:lnTo>
                    <a:pt x="1203" y="1144"/>
                  </a:lnTo>
                  <a:lnTo>
                    <a:pt x="1180" y="1168"/>
                  </a:lnTo>
                  <a:lnTo>
                    <a:pt x="1154" y="1186"/>
                  </a:lnTo>
                  <a:lnTo>
                    <a:pt x="1124" y="1201"/>
                  </a:lnTo>
                  <a:lnTo>
                    <a:pt x="1091" y="1210"/>
                  </a:lnTo>
                  <a:lnTo>
                    <a:pt x="1056" y="1213"/>
                  </a:lnTo>
                  <a:lnTo>
                    <a:pt x="1018" y="1213"/>
                  </a:lnTo>
                  <a:lnTo>
                    <a:pt x="1018" y="1983"/>
                  </a:lnTo>
                  <a:lnTo>
                    <a:pt x="1014" y="2018"/>
                  </a:lnTo>
                  <a:lnTo>
                    <a:pt x="1006" y="2050"/>
                  </a:lnTo>
                  <a:lnTo>
                    <a:pt x="992" y="2080"/>
                  </a:lnTo>
                  <a:lnTo>
                    <a:pt x="972" y="2107"/>
                  </a:lnTo>
                  <a:lnTo>
                    <a:pt x="949" y="2131"/>
                  </a:lnTo>
                  <a:lnTo>
                    <a:pt x="923" y="2149"/>
                  </a:lnTo>
                  <a:lnTo>
                    <a:pt x="893" y="2163"/>
                  </a:lnTo>
                  <a:lnTo>
                    <a:pt x="861" y="2173"/>
                  </a:lnTo>
                  <a:lnTo>
                    <a:pt x="826" y="2175"/>
                  </a:lnTo>
                  <a:lnTo>
                    <a:pt x="423" y="2175"/>
                  </a:lnTo>
                  <a:lnTo>
                    <a:pt x="388" y="2173"/>
                  </a:lnTo>
                  <a:lnTo>
                    <a:pt x="355" y="2163"/>
                  </a:lnTo>
                  <a:lnTo>
                    <a:pt x="325" y="2149"/>
                  </a:lnTo>
                  <a:lnTo>
                    <a:pt x="299" y="2131"/>
                  </a:lnTo>
                  <a:lnTo>
                    <a:pt x="276" y="2107"/>
                  </a:lnTo>
                  <a:lnTo>
                    <a:pt x="257" y="2080"/>
                  </a:lnTo>
                  <a:lnTo>
                    <a:pt x="242" y="2050"/>
                  </a:lnTo>
                  <a:lnTo>
                    <a:pt x="234" y="2018"/>
                  </a:lnTo>
                  <a:lnTo>
                    <a:pt x="230" y="1983"/>
                  </a:lnTo>
                  <a:lnTo>
                    <a:pt x="230" y="1938"/>
                  </a:lnTo>
                  <a:lnTo>
                    <a:pt x="251" y="1896"/>
                  </a:lnTo>
                  <a:lnTo>
                    <a:pt x="268" y="1853"/>
                  </a:lnTo>
                  <a:lnTo>
                    <a:pt x="278" y="1808"/>
                  </a:lnTo>
                  <a:lnTo>
                    <a:pt x="286" y="1762"/>
                  </a:lnTo>
                  <a:lnTo>
                    <a:pt x="288" y="1713"/>
                  </a:lnTo>
                  <a:lnTo>
                    <a:pt x="288" y="710"/>
                  </a:lnTo>
                  <a:lnTo>
                    <a:pt x="284" y="652"/>
                  </a:lnTo>
                  <a:lnTo>
                    <a:pt x="275" y="596"/>
                  </a:lnTo>
                  <a:lnTo>
                    <a:pt x="258" y="543"/>
                  </a:lnTo>
                  <a:lnTo>
                    <a:pt x="235" y="491"/>
                  </a:lnTo>
                  <a:lnTo>
                    <a:pt x="208" y="444"/>
                  </a:lnTo>
                  <a:lnTo>
                    <a:pt x="175" y="401"/>
                  </a:lnTo>
                  <a:lnTo>
                    <a:pt x="137" y="361"/>
                  </a:lnTo>
                  <a:lnTo>
                    <a:pt x="95" y="325"/>
                  </a:lnTo>
                  <a:lnTo>
                    <a:pt x="49" y="295"/>
                  </a:lnTo>
                  <a:lnTo>
                    <a:pt x="0" y="269"/>
                  </a:lnTo>
                  <a:lnTo>
                    <a:pt x="0" y="192"/>
                  </a:lnTo>
                  <a:lnTo>
                    <a:pt x="4" y="159"/>
                  </a:lnTo>
                  <a:lnTo>
                    <a:pt x="12" y="126"/>
                  </a:lnTo>
                  <a:lnTo>
                    <a:pt x="26" y="96"/>
                  </a:lnTo>
                  <a:lnTo>
                    <a:pt x="46" y="69"/>
                  </a:lnTo>
                  <a:lnTo>
                    <a:pt x="68" y="46"/>
                  </a:lnTo>
                  <a:lnTo>
                    <a:pt x="95" y="26"/>
                  </a:lnTo>
                  <a:lnTo>
                    <a:pt x="125" y="12"/>
                  </a:lnTo>
                  <a:lnTo>
                    <a:pt x="157" y="4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12" name="Freeform 383"/>
            <p:cNvSpPr>
              <a:spLocks/>
            </p:cNvSpPr>
            <p:nvPr/>
          </p:nvSpPr>
          <p:spPr bwMode="auto">
            <a:xfrm>
              <a:off x="2899" y="3404"/>
              <a:ext cx="286" cy="499"/>
            </a:xfrm>
            <a:custGeom>
              <a:avLst/>
              <a:gdLst>
                <a:gd name="T0" fmla="*/ 192 w 1431"/>
                <a:gd name="T1" fmla="*/ 0 h 2493"/>
                <a:gd name="T2" fmla="*/ 1239 w 1431"/>
                <a:gd name="T3" fmla="*/ 0 h 2493"/>
                <a:gd name="T4" fmla="*/ 1272 w 1431"/>
                <a:gd name="T5" fmla="*/ 3 h 2493"/>
                <a:gd name="T6" fmla="*/ 1305 w 1431"/>
                <a:gd name="T7" fmla="*/ 12 h 2493"/>
                <a:gd name="T8" fmla="*/ 1335 w 1431"/>
                <a:gd name="T9" fmla="*/ 26 h 2493"/>
                <a:gd name="T10" fmla="*/ 1362 w 1431"/>
                <a:gd name="T11" fmla="*/ 45 h 2493"/>
                <a:gd name="T12" fmla="*/ 1385 w 1431"/>
                <a:gd name="T13" fmla="*/ 68 h 2493"/>
                <a:gd name="T14" fmla="*/ 1404 w 1431"/>
                <a:gd name="T15" fmla="*/ 96 h 2493"/>
                <a:gd name="T16" fmla="*/ 1419 w 1431"/>
                <a:gd name="T17" fmla="*/ 126 h 2493"/>
                <a:gd name="T18" fmla="*/ 1427 w 1431"/>
                <a:gd name="T19" fmla="*/ 159 h 2493"/>
                <a:gd name="T20" fmla="*/ 1431 w 1431"/>
                <a:gd name="T21" fmla="*/ 192 h 2493"/>
                <a:gd name="T22" fmla="*/ 1431 w 1431"/>
                <a:gd name="T23" fmla="*/ 1197 h 2493"/>
                <a:gd name="T24" fmla="*/ 1427 w 1431"/>
                <a:gd name="T25" fmla="*/ 1232 h 2493"/>
                <a:gd name="T26" fmla="*/ 1419 w 1431"/>
                <a:gd name="T27" fmla="*/ 1264 h 2493"/>
                <a:gd name="T28" fmla="*/ 1404 w 1431"/>
                <a:gd name="T29" fmla="*/ 1295 h 2493"/>
                <a:gd name="T30" fmla="*/ 1385 w 1431"/>
                <a:gd name="T31" fmla="*/ 1321 h 2493"/>
                <a:gd name="T32" fmla="*/ 1362 w 1431"/>
                <a:gd name="T33" fmla="*/ 1344 h 2493"/>
                <a:gd name="T34" fmla="*/ 1335 w 1431"/>
                <a:gd name="T35" fmla="*/ 1363 h 2493"/>
                <a:gd name="T36" fmla="*/ 1305 w 1431"/>
                <a:gd name="T37" fmla="*/ 1378 h 2493"/>
                <a:gd name="T38" fmla="*/ 1272 w 1431"/>
                <a:gd name="T39" fmla="*/ 1386 h 2493"/>
                <a:gd name="T40" fmla="*/ 1239 w 1431"/>
                <a:gd name="T41" fmla="*/ 1390 h 2493"/>
                <a:gd name="T42" fmla="*/ 1164 w 1431"/>
                <a:gd name="T43" fmla="*/ 1390 h 2493"/>
                <a:gd name="T44" fmla="*/ 1164 w 1431"/>
                <a:gd name="T45" fmla="*/ 2300 h 2493"/>
                <a:gd name="T46" fmla="*/ 1162 w 1431"/>
                <a:gd name="T47" fmla="*/ 2335 h 2493"/>
                <a:gd name="T48" fmla="*/ 1152 w 1431"/>
                <a:gd name="T49" fmla="*/ 2368 h 2493"/>
                <a:gd name="T50" fmla="*/ 1138 w 1431"/>
                <a:gd name="T51" fmla="*/ 2398 h 2493"/>
                <a:gd name="T52" fmla="*/ 1120 w 1431"/>
                <a:gd name="T53" fmla="*/ 2424 h 2493"/>
                <a:gd name="T54" fmla="*/ 1096 w 1431"/>
                <a:gd name="T55" fmla="*/ 2448 h 2493"/>
                <a:gd name="T56" fmla="*/ 1069 w 1431"/>
                <a:gd name="T57" fmla="*/ 2467 h 2493"/>
                <a:gd name="T58" fmla="*/ 1039 w 1431"/>
                <a:gd name="T59" fmla="*/ 2481 h 2493"/>
                <a:gd name="T60" fmla="*/ 1007 w 1431"/>
                <a:gd name="T61" fmla="*/ 2491 h 2493"/>
                <a:gd name="T62" fmla="*/ 972 w 1431"/>
                <a:gd name="T63" fmla="*/ 2493 h 2493"/>
                <a:gd name="T64" fmla="*/ 457 w 1431"/>
                <a:gd name="T65" fmla="*/ 2493 h 2493"/>
                <a:gd name="T66" fmla="*/ 422 w 1431"/>
                <a:gd name="T67" fmla="*/ 2491 h 2493"/>
                <a:gd name="T68" fmla="*/ 390 w 1431"/>
                <a:gd name="T69" fmla="*/ 2481 h 2493"/>
                <a:gd name="T70" fmla="*/ 360 w 1431"/>
                <a:gd name="T71" fmla="*/ 2467 h 2493"/>
                <a:gd name="T72" fmla="*/ 333 w 1431"/>
                <a:gd name="T73" fmla="*/ 2448 h 2493"/>
                <a:gd name="T74" fmla="*/ 311 w 1431"/>
                <a:gd name="T75" fmla="*/ 2424 h 2493"/>
                <a:gd name="T76" fmla="*/ 291 w 1431"/>
                <a:gd name="T77" fmla="*/ 2398 h 2493"/>
                <a:gd name="T78" fmla="*/ 277 w 1431"/>
                <a:gd name="T79" fmla="*/ 2368 h 2493"/>
                <a:gd name="T80" fmla="*/ 269 w 1431"/>
                <a:gd name="T81" fmla="*/ 2335 h 2493"/>
                <a:gd name="T82" fmla="*/ 265 w 1431"/>
                <a:gd name="T83" fmla="*/ 2300 h 2493"/>
                <a:gd name="T84" fmla="*/ 265 w 1431"/>
                <a:gd name="T85" fmla="*/ 1393 h 2493"/>
                <a:gd name="T86" fmla="*/ 192 w 1431"/>
                <a:gd name="T87" fmla="*/ 1393 h 2493"/>
                <a:gd name="T88" fmla="*/ 157 w 1431"/>
                <a:gd name="T89" fmla="*/ 1390 h 2493"/>
                <a:gd name="T90" fmla="*/ 125 w 1431"/>
                <a:gd name="T91" fmla="*/ 1381 h 2493"/>
                <a:gd name="T92" fmla="*/ 95 w 1431"/>
                <a:gd name="T93" fmla="*/ 1367 h 2493"/>
                <a:gd name="T94" fmla="*/ 68 w 1431"/>
                <a:gd name="T95" fmla="*/ 1347 h 2493"/>
                <a:gd name="T96" fmla="*/ 44 w 1431"/>
                <a:gd name="T97" fmla="*/ 1325 h 2493"/>
                <a:gd name="T98" fmla="*/ 26 w 1431"/>
                <a:gd name="T99" fmla="*/ 1297 h 2493"/>
                <a:gd name="T100" fmla="*/ 12 w 1431"/>
                <a:gd name="T101" fmla="*/ 1267 h 2493"/>
                <a:gd name="T102" fmla="*/ 2 w 1431"/>
                <a:gd name="T103" fmla="*/ 1234 h 2493"/>
                <a:gd name="T104" fmla="*/ 0 w 1431"/>
                <a:gd name="T105" fmla="*/ 1201 h 2493"/>
                <a:gd name="T106" fmla="*/ 0 w 1431"/>
                <a:gd name="T107" fmla="*/ 192 h 2493"/>
                <a:gd name="T108" fmla="*/ 2 w 1431"/>
                <a:gd name="T109" fmla="*/ 159 h 2493"/>
                <a:gd name="T110" fmla="*/ 11 w 1431"/>
                <a:gd name="T111" fmla="*/ 126 h 2493"/>
                <a:gd name="T112" fmla="*/ 25 w 1431"/>
                <a:gd name="T113" fmla="*/ 96 h 2493"/>
                <a:gd name="T114" fmla="*/ 44 w 1431"/>
                <a:gd name="T115" fmla="*/ 68 h 2493"/>
                <a:gd name="T116" fmla="*/ 67 w 1431"/>
                <a:gd name="T117" fmla="*/ 45 h 2493"/>
                <a:gd name="T118" fmla="*/ 93 w 1431"/>
                <a:gd name="T119" fmla="*/ 26 h 2493"/>
                <a:gd name="T120" fmla="*/ 123 w 1431"/>
                <a:gd name="T121" fmla="*/ 12 h 2493"/>
                <a:gd name="T122" fmla="*/ 156 w 1431"/>
                <a:gd name="T123" fmla="*/ 3 h 2493"/>
                <a:gd name="T124" fmla="*/ 192 w 1431"/>
                <a:gd name="T125" fmla="*/ 0 h 2493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431" h="2493">
                  <a:moveTo>
                    <a:pt x="192" y="0"/>
                  </a:moveTo>
                  <a:lnTo>
                    <a:pt x="1239" y="0"/>
                  </a:lnTo>
                  <a:lnTo>
                    <a:pt x="1272" y="3"/>
                  </a:lnTo>
                  <a:lnTo>
                    <a:pt x="1305" y="12"/>
                  </a:lnTo>
                  <a:lnTo>
                    <a:pt x="1335" y="26"/>
                  </a:lnTo>
                  <a:lnTo>
                    <a:pt x="1362" y="45"/>
                  </a:lnTo>
                  <a:lnTo>
                    <a:pt x="1385" y="68"/>
                  </a:lnTo>
                  <a:lnTo>
                    <a:pt x="1404" y="96"/>
                  </a:lnTo>
                  <a:lnTo>
                    <a:pt x="1419" y="126"/>
                  </a:lnTo>
                  <a:lnTo>
                    <a:pt x="1427" y="159"/>
                  </a:lnTo>
                  <a:lnTo>
                    <a:pt x="1431" y="192"/>
                  </a:lnTo>
                  <a:lnTo>
                    <a:pt x="1431" y="1197"/>
                  </a:lnTo>
                  <a:lnTo>
                    <a:pt x="1427" y="1232"/>
                  </a:lnTo>
                  <a:lnTo>
                    <a:pt x="1419" y="1264"/>
                  </a:lnTo>
                  <a:lnTo>
                    <a:pt x="1404" y="1295"/>
                  </a:lnTo>
                  <a:lnTo>
                    <a:pt x="1385" y="1321"/>
                  </a:lnTo>
                  <a:lnTo>
                    <a:pt x="1362" y="1344"/>
                  </a:lnTo>
                  <a:lnTo>
                    <a:pt x="1335" y="1363"/>
                  </a:lnTo>
                  <a:lnTo>
                    <a:pt x="1305" y="1378"/>
                  </a:lnTo>
                  <a:lnTo>
                    <a:pt x="1272" y="1386"/>
                  </a:lnTo>
                  <a:lnTo>
                    <a:pt x="1239" y="1390"/>
                  </a:lnTo>
                  <a:lnTo>
                    <a:pt x="1164" y="1390"/>
                  </a:lnTo>
                  <a:lnTo>
                    <a:pt x="1164" y="2300"/>
                  </a:lnTo>
                  <a:lnTo>
                    <a:pt x="1162" y="2335"/>
                  </a:lnTo>
                  <a:lnTo>
                    <a:pt x="1152" y="2368"/>
                  </a:lnTo>
                  <a:lnTo>
                    <a:pt x="1138" y="2398"/>
                  </a:lnTo>
                  <a:lnTo>
                    <a:pt x="1120" y="2424"/>
                  </a:lnTo>
                  <a:lnTo>
                    <a:pt x="1096" y="2448"/>
                  </a:lnTo>
                  <a:lnTo>
                    <a:pt x="1069" y="2467"/>
                  </a:lnTo>
                  <a:lnTo>
                    <a:pt x="1039" y="2481"/>
                  </a:lnTo>
                  <a:lnTo>
                    <a:pt x="1007" y="2491"/>
                  </a:lnTo>
                  <a:lnTo>
                    <a:pt x="972" y="2493"/>
                  </a:lnTo>
                  <a:lnTo>
                    <a:pt x="457" y="2493"/>
                  </a:lnTo>
                  <a:lnTo>
                    <a:pt x="422" y="2491"/>
                  </a:lnTo>
                  <a:lnTo>
                    <a:pt x="390" y="2481"/>
                  </a:lnTo>
                  <a:lnTo>
                    <a:pt x="360" y="2467"/>
                  </a:lnTo>
                  <a:lnTo>
                    <a:pt x="333" y="2448"/>
                  </a:lnTo>
                  <a:lnTo>
                    <a:pt x="311" y="2424"/>
                  </a:lnTo>
                  <a:lnTo>
                    <a:pt x="291" y="2398"/>
                  </a:lnTo>
                  <a:lnTo>
                    <a:pt x="277" y="2368"/>
                  </a:lnTo>
                  <a:lnTo>
                    <a:pt x="269" y="2335"/>
                  </a:lnTo>
                  <a:lnTo>
                    <a:pt x="265" y="2300"/>
                  </a:lnTo>
                  <a:lnTo>
                    <a:pt x="265" y="1393"/>
                  </a:lnTo>
                  <a:lnTo>
                    <a:pt x="192" y="1393"/>
                  </a:lnTo>
                  <a:lnTo>
                    <a:pt x="157" y="1390"/>
                  </a:lnTo>
                  <a:lnTo>
                    <a:pt x="125" y="1381"/>
                  </a:lnTo>
                  <a:lnTo>
                    <a:pt x="95" y="1367"/>
                  </a:lnTo>
                  <a:lnTo>
                    <a:pt x="68" y="1347"/>
                  </a:lnTo>
                  <a:lnTo>
                    <a:pt x="44" y="1325"/>
                  </a:lnTo>
                  <a:lnTo>
                    <a:pt x="26" y="1297"/>
                  </a:lnTo>
                  <a:lnTo>
                    <a:pt x="12" y="1267"/>
                  </a:lnTo>
                  <a:lnTo>
                    <a:pt x="2" y="1234"/>
                  </a:lnTo>
                  <a:lnTo>
                    <a:pt x="0" y="1201"/>
                  </a:lnTo>
                  <a:lnTo>
                    <a:pt x="0" y="192"/>
                  </a:lnTo>
                  <a:lnTo>
                    <a:pt x="2" y="159"/>
                  </a:lnTo>
                  <a:lnTo>
                    <a:pt x="11" y="126"/>
                  </a:lnTo>
                  <a:lnTo>
                    <a:pt x="25" y="96"/>
                  </a:lnTo>
                  <a:lnTo>
                    <a:pt x="44" y="68"/>
                  </a:lnTo>
                  <a:lnTo>
                    <a:pt x="67" y="45"/>
                  </a:lnTo>
                  <a:lnTo>
                    <a:pt x="93" y="26"/>
                  </a:lnTo>
                  <a:lnTo>
                    <a:pt x="123" y="12"/>
                  </a:lnTo>
                  <a:lnTo>
                    <a:pt x="156" y="3"/>
                  </a:lnTo>
                  <a:lnTo>
                    <a:pt x="19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13" name="Freeform 384"/>
            <p:cNvSpPr>
              <a:spLocks/>
            </p:cNvSpPr>
            <p:nvPr/>
          </p:nvSpPr>
          <p:spPr bwMode="auto">
            <a:xfrm>
              <a:off x="2953" y="3194"/>
              <a:ext cx="178" cy="178"/>
            </a:xfrm>
            <a:custGeom>
              <a:avLst/>
              <a:gdLst>
                <a:gd name="T0" fmla="*/ 444 w 889"/>
                <a:gd name="T1" fmla="*/ 0 h 892"/>
                <a:gd name="T2" fmla="*/ 500 w 889"/>
                <a:gd name="T3" fmla="*/ 4 h 892"/>
                <a:gd name="T4" fmla="*/ 554 w 889"/>
                <a:gd name="T5" fmla="*/ 13 h 892"/>
                <a:gd name="T6" fmla="*/ 605 w 889"/>
                <a:gd name="T7" fmla="*/ 30 h 892"/>
                <a:gd name="T8" fmla="*/ 654 w 889"/>
                <a:gd name="T9" fmla="*/ 52 h 892"/>
                <a:gd name="T10" fmla="*/ 698 w 889"/>
                <a:gd name="T11" fmla="*/ 79 h 892"/>
                <a:gd name="T12" fmla="*/ 739 w 889"/>
                <a:gd name="T13" fmla="*/ 112 h 892"/>
                <a:gd name="T14" fmla="*/ 776 w 889"/>
                <a:gd name="T15" fmla="*/ 149 h 892"/>
                <a:gd name="T16" fmla="*/ 810 w 889"/>
                <a:gd name="T17" fmla="*/ 191 h 892"/>
                <a:gd name="T18" fmla="*/ 838 w 889"/>
                <a:gd name="T19" fmla="*/ 236 h 892"/>
                <a:gd name="T20" fmla="*/ 859 w 889"/>
                <a:gd name="T21" fmla="*/ 284 h 892"/>
                <a:gd name="T22" fmla="*/ 876 w 889"/>
                <a:gd name="T23" fmla="*/ 336 h 892"/>
                <a:gd name="T24" fmla="*/ 886 w 889"/>
                <a:gd name="T25" fmla="*/ 390 h 892"/>
                <a:gd name="T26" fmla="*/ 889 w 889"/>
                <a:gd name="T27" fmla="*/ 445 h 892"/>
                <a:gd name="T28" fmla="*/ 886 w 889"/>
                <a:gd name="T29" fmla="*/ 502 h 892"/>
                <a:gd name="T30" fmla="*/ 876 w 889"/>
                <a:gd name="T31" fmla="*/ 556 h 892"/>
                <a:gd name="T32" fmla="*/ 859 w 889"/>
                <a:gd name="T33" fmla="*/ 607 h 892"/>
                <a:gd name="T34" fmla="*/ 838 w 889"/>
                <a:gd name="T35" fmla="*/ 656 h 892"/>
                <a:gd name="T36" fmla="*/ 810 w 889"/>
                <a:gd name="T37" fmla="*/ 700 h 892"/>
                <a:gd name="T38" fmla="*/ 776 w 889"/>
                <a:gd name="T39" fmla="*/ 742 h 892"/>
                <a:gd name="T40" fmla="*/ 739 w 889"/>
                <a:gd name="T41" fmla="*/ 779 h 892"/>
                <a:gd name="T42" fmla="*/ 698 w 889"/>
                <a:gd name="T43" fmla="*/ 812 h 892"/>
                <a:gd name="T44" fmla="*/ 654 w 889"/>
                <a:gd name="T45" fmla="*/ 840 h 892"/>
                <a:gd name="T46" fmla="*/ 605 w 889"/>
                <a:gd name="T47" fmla="*/ 862 h 892"/>
                <a:gd name="T48" fmla="*/ 554 w 889"/>
                <a:gd name="T49" fmla="*/ 878 h 892"/>
                <a:gd name="T50" fmla="*/ 500 w 889"/>
                <a:gd name="T51" fmla="*/ 888 h 892"/>
                <a:gd name="T52" fmla="*/ 444 w 889"/>
                <a:gd name="T53" fmla="*/ 892 h 892"/>
                <a:gd name="T54" fmla="*/ 389 w 889"/>
                <a:gd name="T55" fmla="*/ 888 h 892"/>
                <a:gd name="T56" fmla="*/ 335 w 889"/>
                <a:gd name="T57" fmla="*/ 878 h 892"/>
                <a:gd name="T58" fmla="*/ 283 w 889"/>
                <a:gd name="T59" fmla="*/ 862 h 892"/>
                <a:gd name="T60" fmla="*/ 235 w 889"/>
                <a:gd name="T61" fmla="*/ 840 h 892"/>
                <a:gd name="T62" fmla="*/ 191 w 889"/>
                <a:gd name="T63" fmla="*/ 812 h 892"/>
                <a:gd name="T64" fmla="*/ 149 w 889"/>
                <a:gd name="T65" fmla="*/ 779 h 892"/>
                <a:gd name="T66" fmla="*/ 111 w 889"/>
                <a:gd name="T67" fmla="*/ 742 h 892"/>
                <a:gd name="T68" fmla="*/ 79 w 889"/>
                <a:gd name="T69" fmla="*/ 700 h 892"/>
                <a:gd name="T70" fmla="*/ 51 w 889"/>
                <a:gd name="T71" fmla="*/ 656 h 892"/>
                <a:gd name="T72" fmla="*/ 30 w 889"/>
                <a:gd name="T73" fmla="*/ 607 h 892"/>
                <a:gd name="T74" fmla="*/ 13 w 889"/>
                <a:gd name="T75" fmla="*/ 556 h 892"/>
                <a:gd name="T76" fmla="*/ 3 w 889"/>
                <a:gd name="T77" fmla="*/ 502 h 892"/>
                <a:gd name="T78" fmla="*/ 0 w 889"/>
                <a:gd name="T79" fmla="*/ 445 h 892"/>
                <a:gd name="T80" fmla="*/ 3 w 889"/>
                <a:gd name="T81" fmla="*/ 390 h 892"/>
                <a:gd name="T82" fmla="*/ 13 w 889"/>
                <a:gd name="T83" fmla="*/ 336 h 892"/>
                <a:gd name="T84" fmla="*/ 30 w 889"/>
                <a:gd name="T85" fmla="*/ 284 h 892"/>
                <a:gd name="T86" fmla="*/ 51 w 889"/>
                <a:gd name="T87" fmla="*/ 236 h 892"/>
                <a:gd name="T88" fmla="*/ 79 w 889"/>
                <a:gd name="T89" fmla="*/ 191 h 892"/>
                <a:gd name="T90" fmla="*/ 111 w 889"/>
                <a:gd name="T91" fmla="*/ 149 h 892"/>
                <a:gd name="T92" fmla="*/ 149 w 889"/>
                <a:gd name="T93" fmla="*/ 112 h 892"/>
                <a:gd name="T94" fmla="*/ 191 w 889"/>
                <a:gd name="T95" fmla="*/ 79 h 892"/>
                <a:gd name="T96" fmla="*/ 235 w 889"/>
                <a:gd name="T97" fmla="*/ 52 h 892"/>
                <a:gd name="T98" fmla="*/ 283 w 889"/>
                <a:gd name="T99" fmla="*/ 30 h 892"/>
                <a:gd name="T100" fmla="*/ 335 w 889"/>
                <a:gd name="T101" fmla="*/ 13 h 892"/>
                <a:gd name="T102" fmla="*/ 389 w 889"/>
                <a:gd name="T103" fmla="*/ 4 h 892"/>
                <a:gd name="T104" fmla="*/ 444 w 889"/>
                <a:gd name="T105" fmla="*/ 0 h 89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</a:cxnLst>
              <a:rect l="0" t="0" r="r" b="b"/>
              <a:pathLst>
                <a:path w="889" h="892">
                  <a:moveTo>
                    <a:pt x="444" y="0"/>
                  </a:moveTo>
                  <a:lnTo>
                    <a:pt x="500" y="4"/>
                  </a:lnTo>
                  <a:lnTo>
                    <a:pt x="554" y="13"/>
                  </a:lnTo>
                  <a:lnTo>
                    <a:pt x="605" y="30"/>
                  </a:lnTo>
                  <a:lnTo>
                    <a:pt x="654" y="52"/>
                  </a:lnTo>
                  <a:lnTo>
                    <a:pt x="698" y="79"/>
                  </a:lnTo>
                  <a:lnTo>
                    <a:pt x="739" y="112"/>
                  </a:lnTo>
                  <a:lnTo>
                    <a:pt x="776" y="149"/>
                  </a:lnTo>
                  <a:lnTo>
                    <a:pt x="810" y="191"/>
                  </a:lnTo>
                  <a:lnTo>
                    <a:pt x="838" y="236"/>
                  </a:lnTo>
                  <a:lnTo>
                    <a:pt x="859" y="284"/>
                  </a:lnTo>
                  <a:lnTo>
                    <a:pt x="876" y="336"/>
                  </a:lnTo>
                  <a:lnTo>
                    <a:pt x="886" y="390"/>
                  </a:lnTo>
                  <a:lnTo>
                    <a:pt x="889" y="445"/>
                  </a:lnTo>
                  <a:lnTo>
                    <a:pt x="886" y="502"/>
                  </a:lnTo>
                  <a:lnTo>
                    <a:pt x="876" y="556"/>
                  </a:lnTo>
                  <a:lnTo>
                    <a:pt x="859" y="607"/>
                  </a:lnTo>
                  <a:lnTo>
                    <a:pt x="838" y="656"/>
                  </a:lnTo>
                  <a:lnTo>
                    <a:pt x="810" y="700"/>
                  </a:lnTo>
                  <a:lnTo>
                    <a:pt x="776" y="742"/>
                  </a:lnTo>
                  <a:lnTo>
                    <a:pt x="739" y="779"/>
                  </a:lnTo>
                  <a:lnTo>
                    <a:pt x="698" y="812"/>
                  </a:lnTo>
                  <a:lnTo>
                    <a:pt x="654" y="840"/>
                  </a:lnTo>
                  <a:lnTo>
                    <a:pt x="605" y="862"/>
                  </a:lnTo>
                  <a:lnTo>
                    <a:pt x="554" y="878"/>
                  </a:lnTo>
                  <a:lnTo>
                    <a:pt x="500" y="888"/>
                  </a:lnTo>
                  <a:lnTo>
                    <a:pt x="444" y="892"/>
                  </a:lnTo>
                  <a:lnTo>
                    <a:pt x="389" y="888"/>
                  </a:lnTo>
                  <a:lnTo>
                    <a:pt x="335" y="878"/>
                  </a:lnTo>
                  <a:lnTo>
                    <a:pt x="283" y="862"/>
                  </a:lnTo>
                  <a:lnTo>
                    <a:pt x="235" y="840"/>
                  </a:lnTo>
                  <a:lnTo>
                    <a:pt x="191" y="812"/>
                  </a:lnTo>
                  <a:lnTo>
                    <a:pt x="149" y="779"/>
                  </a:lnTo>
                  <a:lnTo>
                    <a:pt x="111" y="742"/>
                  </a:lnTo>
                  <a:lnTo>
                    <a:pt x="79" y="700"/>
                  </a:lnTo>
                  <a:lnTo>
                    <a:pt x="51" y="656"/>
                  </a:lnTo>
                  <a:lnTo>
                    <a:pt x="30" y="607"/>
                  </a:lnTo>
                  <a:lnTo>
                    <a:pt x="13" y="556"/>
                  </a:lnTo>
                  <a:lnTo>
                    <a:pt x="3" y="502"/>
                  </a:lnTo>
                  <a:lnTo>
                    <a:pt x="0" y="445"/>
                  </a:lnTo>
                  <a:lnTo>
                    <a:pt x="3" y="390"/>
                  </a:lnTo>
                  <a:lnTo>
                    <a:pt x="13" y="336"/>
                  </a:lnTo>
                  <a:lnTo>
                    <a:pt x="30" y="284"/>
                  </a:lnTo>
                  <a:lnTo>
                    <a:pt x="51" y="236"/>
                  </a:lnTo>
                  <a:lnTo>
                    <a:pt x="79" y="191"/>
                  </a:lnTo>
                  <a:lnTo>
                    <a:pt x="111" y="149"/>
                  </a:lnTo>
                  <a:lnTo>
                    <a:pt x="149" y="112"/>
                  </a:lnTo>
                  <a:lnTo>
                    <a:pt x="191" y="79"/>
                  </a:lnTo>
                  <a:lnTo>
                    <a:pt x="235" y="52"/>
                  </a:lnTo>
                  <a:lnTo>
                    <a:pt x="283" y="30"/>
                  </a:lnTo>
                  <a:lnTo>
                    <a:pt x="335" y="13"/>
                  </a:lnTo>
                  <a:lnTo>
                    <a:pt x="389" y="4"/>
                  </a:lnTo>
                  <a:lnTo>
                    <a:pt x="444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sp>
        <p:nvSpPr>
          <p:cNvPr id="14" name="TextBox 13"/>
          <p:cNvSpPr txBox="1"/>
          <p:nvPr/>
        </p:nvSpPr>
        <p:spPr>
          <a:xfrm>
            <a:off x="9045604" y="378126"/>
            <a:ext cx="212439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регион</a:t>
            </a:r>
            <a:r>
              <a:rPr kumimoji="0" lang="ru-RU" sz="3200" b="1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ов</a:t>
            </a:r>
            <a:endParaRPr kumimoji="0" lang="ru-RU" sz="32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5" name="TextBox 14"/>
          <p:cNvSpPr txBox="1"/>
          <p:nvPr/>
        </p:nvSpPr>
        <p:spPr>
          <a:xfrm>
            <a:off x="7356140" y="152636"/>
            <a:ext cx="1607896" cy="92333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54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&gt;70</a:t>
            </a:r>
            <a:endParaRPr kumimoji="0" lang="ru-RU" sz="1400" b="1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7" name="TextBox 16"/>
          <p:cNvSpPr txBox="1"/>
          <p:nvPr/>
        </p:nvSpPr>
        <p:spPr>
          <a:xfrm>
            <a:off x="6023992" y="385582"/>
            <a:ext cx="1672323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Всего:</a:t>
            </a: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5D2FF7E0-E291-47D5-8FCD-C2E32C6A7A4F}"/>
              </a:ext>
            </a:extLst>
          </p:cNvPr>
          <p:cNvSpPr txBox="1"/>
          <p:nvPr/>
        </p:nvSpPr>
        <p:spPr>
          <a:xfrm>
            <a:off x="10848528" y="5661248"/>
            <a:ext cx="14401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млн </a:t>
            </a:r>
            <a:b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USD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chemeClr val="bg1">
                  <a:lumMod val="65000"/>
                </a:schemeClr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8" name="TextBox 17">
            <a:extLst>
              <a:ext uri="{FF2B5EF4-FFF2-40B4-BE49-F238E27FC236}">
                <a16:creationId xmlns:a16="http://schemas.microsoft.com/office/drawing/2014/main" id="{8E761B55-9635-4062-ABFB-5D47D9C119D1}"/>
              </a:ext>
            </a:extLst>
          </p:cNvPr>
          <p:cNvSpPr txBox="1"/>
          <p:nvPr/>
        </p:nvSpPr>
        <p:spPr>
          <a:xfrm>
            <a:off x="4014583" y="1088740"/>
            <a:ext cx="2232417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chemeClr val="bg1">
                    <a:lumMod val="65000"/>
                  </a:schemeClr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Области РФ</a:t>
            </a:r>
          </a:p>
        </p:txBody>
      </p:sp>
      <p:sp>
        <p:nvSpPr>
          <p:cNvPr id="19" name="TextBox 18">
            <a:extLst>
              <a:ext uri="{FF2B5EF4-FFF2-40B4-BE49-F238E27FC236}">
                <a16:creationId xmlns:a16="http://schemas.microsoft.com/office/drawing/2014/main" id="{59939515-C708-4C17-A850-0916688CA84E}"/>
              </a:ext>
            </a:extLst>
          </p:cNvPr>
          <p:cNvSpPr txBox="1"/>
          <p:nvPr/>
        </p:nvSpPr>
        <p:spPr>
          <a:xfrm>
            <a:off x="4187788" y="6008225"/>
            <a:ext cx="2016224" cy="477054"/>
          </a:xfrm>
          <a:prstGeom prst="rect">
            <a:avLst/>
          </a:prstGeom>
          <a:solidFill>
            <a:schemeClr val="bg1"/>
          </a:solidFill>
        </p:spPr>
        <p:txBody>
          <a:bodyPr wrap="square" rtlCol="0">
            <a:spAutoFit/>
          </a:bodyPr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 sz="25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r>
              <a:rPr lang="ru-RU" sz="2500" b="1" dirty="0">
                <a:solidFill>
                  <a:schemeClr val="tx1">
                    <a:lumMod val="65000"/>
                    <a:lumOff val="35000"/>
                  </a:schemeClr>
                </a:solidFill>
              </a:rPr>
              <a:t>Пензенская</a:t>
            </a:r>
          </a:p>
        </p:txBody>
      </p:sp>
    </p:spTree>
    <p:extLst>
      <p:ext uri="{BB962C8B-B14F-4D97-AF65-F5344CB8AC3E}">
        <p14:creationId xmlns:p14="http://schemas.microsoft.com/office/powerpoint/2010/main" val="1837644567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8" name="Группа 27"/>
          <p:cNvGrpSpPr/>
          <p:nvPr/>
        </p:nvGrpSpPr>
        <p:grpSpPr>
          <a:xfrm>
            <a:off x="5804227" y="4498835"/>
            <a:ext cx="3142712" cy="1323439"/>
            <a:chOff x="7005706" y="2161788"/>
            <a:chExt cx="3142712" cy="1323439"/>
          </a:xfrm>
        </p:grpSpPr>
        <p:sp>
          <p:nvSpPr>
            <p:cNvPr id="18" name="TextBox 17"/>
            <p:cNvSpPr txBox="1"/>
            <p:nvPr/>
          </p:nvSpPr>
          <p:spPr>
            <a:xfrm>
              <a:off x="7005706" y="2161788"/>
              <a:ext cx="1285989" cy="1323439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8000" b="0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5</a:t>
              </a:r>
            </a:p>
          </p:txBody>
        </p:sp>
        <p:sp>
          <p:nvSpPr>
            <p:cNvPr id="20" name="TextBox 19"/>
            <p:cNvSpPr txBox="1"/>
            <p:nvPr/>
          </p:nvSpPr>
          <p:spPr>
            <a:xfrm>
              <a:off x="7711470" y="2418918"/>
              <a:ext cx="2436948" cy="646331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3600" b="0" i="0" u="none" strike="noStrike" kern="1200" cap="none" spc="0" normalizeH="0" baseline="0" noProof="0" dirty="0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</a:rPr>
                <a:t>компаний</a:t>
              </a:r>
            </a:p>
          </p:txBody>
        </p:sp>
      </p:grpSp>
      <p:sp>
        <p:nvSpPr>
          <p:cNvPr id="41" name="Заголовок 1"/>
          <p:cNvSpPr>
            <a:spLocks noGrp="1"/>
          </p:cNvSpPr>
          <p:nvPr>
            <p:ph type="title"/>
          </p:nvPr>
        </p:nvSpPr>
        <p:spPr>
          <a:xfrm>
            <a:off x="56761" y="2689968"/>
            <a:ext cx="2864478" cy="1325563"/>
          </a:xfrm>
        </p:spPr>
        <p:txBody>
          <a:bodyPr>
            <a:noAutofit/>
          </a:bodyPr>
          <a:lstStyle/>
          <a:p>
            <a:pPr algn="l"/>
            <a:br>
              <a:rPr lang="ru-RU" sz="3600" b="1" dirty="0">
                <a:sym typeface="Roboto" pitchFamily="2" charset="0"/>
              </a:rPr>
            </a:br>
            <a:r>
              <a:rPr lang="ru-RU" sz="3600" b="1" dirty="0">
                <a:sym typeface="Roboto" pitchFamily="2" charset="0"/>
              </a:rPr>
              <a:t>Пензенская </a:t>
            </a:r>
            <a:br>
              <a:rPr lang="ru-RU" sz="3600" b="1" dirty="0">
                <a:sym typeface="Roboto" pitchFamily="2" charset="0"/>
              </a:rPr>
            </a:br>
            <a:r>
              <a:rPr lang="ru-RU" sz="3600" b="1" dirty="0">
                <a:sym typeface="Roboto" pitchFamily="2" charset="0"/>
              </a:rPr>
              <a:t>область</a:t>
            </a:r>
          </a:p>
        </p:txBody>
      </p:sp>
      <p:pic>
        <p:nvPicPr>
          <p:cNvPr id="2" name="Рисунок 1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80299" y="1700808"/>
            <a:ext cx="1134257" cy="1486822"/>
          </a:xfrm>
          <a:prstGeom prst="rect">
            <a:avLst/>
          </a:prstGeom>
        </p:spPr>
      </p:pic>
      <p:sp>
        <p:nvSpPr>
          <p:cNvPr id="37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 txBox="1">
            <a:spLocks/>
          </p:cNvSpPr>
          <p:nvPr/>
        </p:nvSpPr>
        <p:spPr>
          <a:xfrm>
            <a:off x="3187111" y="932055"/>
            <a:ext cx="4464496" cy="3765133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829544" rtl="0" eaLnBrk="1" fontAlgn="auto" latinLnBrk="1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ЭКСПОРТ</a:t>
            </a:r>
          </a:p>
          <a:p>
            <a:pPr marL="0" marR="0" lvl="0" indent="0" algn="ctr" defTabSz="829544" rtl="0" eaLnBrk="1" fontAlgn="auto" latinLnBrk="1" hangingPunct="1"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j-cs"/>
            </a:endParaRPr>
          </a:p>
          <a:p>
            <a:pPr marL="539750" lvl="1" indent="-271463">
              <a:spcBef>
                <a:spcPts val="800"/>
              </a:spcBef>
              <a:buClr>
                <a:srgbClr val="649941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cs typeface="+mj-cs"/>
              </a:rPr>
              <a:t>молокопродукты</a:t>
            </a:r>
          </a:p>
          <a:p>
            <a:pPr marL="268287" lvl="1">
              <a:spcBef>
                <a:spcPts val="800"/>
              </a:spcBef>
              <a:buClr>
                <a:srgbClr val="649941"/>
              </a:buClr>
              <a:buSzPct val="120000"/>
              <a:defRPr/>
            </a:pPr>
            <a:endParaRPr lang="ru-RU" dirty="0">
              <a:solidFill>
                <a:prstClr val="black"/>
              </a:solidFill>
              <a:cs typeface="+mj-cs"/>
            </a:endParaRPr>
          </a:p>
          <a:p>
            <a:pPr marL="539750" lvl="1" indent="-271463">
              <a:spcBef>
                <a:spcPts val="800"/>
              </a:spcBef>
              <a:buClr>
                <a:srgbClr val="649941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cs typeface="+mj-cs"/>
              </a:rPr>
              <a:t>древесные плиты</a:t>
            </a:r>
          </a:p>
          <a:p>
            <a:pPr marL="268287" lvl="1">
              <a:spcBef>
                <a:spcPts val="800"/>
              </a:spcBef>
              <a:buClr>
                <a:srgbClr val="649941"/>
              </a:buClr>
              <a:buSzPct val="120000"/>
              <a:defRPr/>
            </a:pPr>
            <a:endParaRPr lang="ru-RU" dirty="0">
              <a:solidFill>
                <a:prstClr val="black"/>
              </a:solidFill>
              <a:cs typeface="+mj-cs"/>
            </a:endParaRPr>
          </a:p>
          <a:p>
            <a:pPr marL="539750" lvl="1" indent="-271463">
              <a:spcBef>
                <a:spcPts val="800"/>
              </a:spcBef>
              <a:buClr>
                <a:srgbClr val="649941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cs typeface="+mj-cs"/>
              </a:rPr>
              <a:t>продукция химии </a:t>
            </a:r>
            <a:br>
              <a:rPr lang="ru-RU" dirty="0">
                <a:solidFill>
                  <a:prstClr val="black"/>
                </a:solidFill>
                <a:cs typeface="+mj-cs"/>
              </a:rPr>
            </a:br>
            <a:r>
              <a:rPr lang="ru-RU" dirty="0">
                <a:solidFill>
                  <a:prstClr val="black"/>
                </a:solidFill>
                <a:cs typeface="+mj-cs"/>
              </a:rPr>
              <a:t>и нефтехимии</a:t>
            </a:r>
          </a:p>
          <a:p>
            <a:pPr marL="539750" lvl="1" indent="-271463">
              <a:lnSpc>
                <a:spcPts val="2000"/>
              </a:lnSpc>
              <a:spcBef>
                <a:spcPts val="800"/>
              </a:spcBef>
              <a:buClr>
                <a:srgbClr val="649941"/>
              </a:buClr>
              <a:buSzPct val="120000"/>
              <a:buFont typeface="Wingdings" panose="05000000000000000000" pitchFamily="2" charset="2"/>
              <a:buChar char="§"/>
              <a:defRPr/>
            </a:pPr>
            <a:endParaRPr kumimoji="0" lang="ru-RU" sz="32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</a:endParaRPr>
          </a:p>
        </p:txBody>
      </p:sp>
      <p:sp>
        <p:nvSpPr>
          <p:cNvPr id="16" name="Rectangle 7">
            <a:extLst>
              <a:ext uri="{FF2B5EF4-FFF2-40B4-BE49-F238E27FC236}">
                <a16:creationId xmlns:a16="http://schemas.microsoft.com/office/drawing/2014/main" id="{C62ABD80-4BAC-4AA0-972A-30C0B627D475}"/>
              </a:ext>
            </a:extLst>
          </p:cNvPr>
          <p:cNvSpPr/>
          <p:nvPr/>
        </p:nvSpPr>
        <p:spPr>
          <a:xfrm>
            <a:off x="947428" y="4906712"/>
            <a:ext cx="648072" cy="571285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rgbClr val="546F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5819095" y="5733256"/>
            <a:ext cx="3127844" cy="867930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Сделки еще </a:t>
            </a:r>
          </a:p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не совершались</a:t>
            </a:r>
          </a:p>
        </p:txBody>
      </p:sp>
      <p:sp>
        <p:nvSpPr>
          <p:cNvPr id="14" name="Заголовок 1">
            <a:extLst>
              <a:ext uri="{FF2B5EF4-FFF2-40B4-BE49-F238E27FC236}">
                <a16:creationId xmlns:a16="http://schemas.microsoft.com/office/drawing/2014/main" id="{4CD27001-0ADA-41CC-8A08-A9C60D1DF156}"/>
              </a:ext>
            </a:extLst>
          </p:cNvPr>
          <p:cNvSpPr txBox="1">
            <a:spLocks/>
          </p:cNvSpPr>
          <p:nvPr/>
        </p:nvSpPr>
        <p:spPr>
          <a:xfrm>
            <a:off x="7536160" y="923498"/>
            <a:ext cx="4284476" cy="4237057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200" b="1" i="0" u="none" strike="noStrike" kern="1200" cap="none" spc="0" normalizeH="0" baseline="0" noProof="0" dirty="0">
                <a:ln>
                  <a:noFill/>
                </a:ln>
                <a:solidFill>
                  <a:srgbClr val="0070C0"/>
                </a:solidFill>
                <a:effectLst/>
                <a:uLnTx/>
                <a:uFillTx/>
                <a:latin typeface="Arial"/>
                <a:ea typeface="Arial Unicode MS"/>
                <a:cs typeface="+mj-cs"/>
              </a:rPr>
              <a:t>ИМПОРТ</a:t>
            </a:r>
          </a:p>
          <a:p>
            <a:pPr marL="0" marR="0" lvl="0" indent="0" algn="ctr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2200" b="1" i="0" u="none" strike="noStrike" kern="1200" cap="none" spc="0" normalizeH="0" baseline="0" noProof="0" dirty="0">
              <a:ln>
                <a:noFill/>
              </a:ln>
              <a:solidFill>
                <a:srgbClr val="0070C0"/>
              </a:solidFill>
              <a:effectLst/>
              <a:uLnTx/>
              <a:uFillTx/>
              <a:latin typeface="Arial"/>
              <a:ea typeface="Arial Unicode MS"/>
              <a:cs typeface="+mj-cs"/>
            </a:endParaRPr>
          </a:p>
          <a:p>
            <a:pPr marL="539750" lvl="1" indent="-271463" defTabSz="829544">
              <a:spcBef>
                <a:spcPts val="800"/>
              </a:spcBef>
              <a:buClr>
                <a:srgbClr val="0070C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cs typeface="+mj-cs"/>
              </a:rPr>
              <a:t>кормовые добавки</a:t>
            </a:r>
          </a:p>
          <a:p>
            <a:pPr marL="268287" lvl="1" defTabSz="829544">
              <a:spcBef>
                <a:spcPts val="800"/>
              </a:spcBef>
              <a:buClr>
                <a:srgbClr val="0070C0"/>
              </a:buClr>
              <a:buSzPct val="120000"/>
              <a:defRPr/>
            </a:pPr>
            <a:r>
              <a:rPr lang="ru-RU" dirty="0">
                <a:solidFill>
                  <a:prstClr val="black"/>
                </a:solidFill>
                <a:cs typeface="+mj-cs"/>
              </a:rPr>
              <a:t> </a:t>
            </a:r>
          </a:p>
          <a:p>
            <a:pPr marL="539750" lvl="1" indent="-271463" defTabSz="829544">
              <a:spcBef>
                <a:spcPts val="800"/>
              </a:spcBef>
              <a:buClr>
                <a:srgbClr val="0070C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</a:rPr>
              <a:t>шроты, жмыхи, зерно </a:t>
            </a:r>
          </a:p>
          <a:p>
            <a:pPr marL="268287" lvl="1" defTabSz="829544">
              <a:spcBef>
                <a:spcPts val="800"/>
              </a:spcBef>
              <a:buClr>
                <a:srgbClr val="0070C0"/>
              </a:buClr>
              <a:buSzPct val="120000"/>
              <a:defRPr/>
            </a:pPr>
            <a:endParaRPr lang="ru-RU" dirty="0">
              <a:solidFill>
                <a:prstClr val="black"/>
              </a:solidFill>
              <a:cs typeface="+mj-cs"/>
            </a:endParaRPr>
          </a:p>
          <a:p>
            <a:pPr marL="539750" lvl="1" indent="-271463" defTabSz="829544">
              <a:spcBef>
                <a:spcPts val="800"/>
              </a:spcBef>
              <a:buClr>
                <a:srgbClr val="0070C0"/>
              </a:buClr>
              <a:buSzPct val="120000"/>
              <a:buFont typeface="Wingdings" panose="05000000000000000000" pitchFamily="2" charset="2"/>
              <a:buChar char="§"/>
              <a:defRPr/>
            </a:pPr>
            <a:r>
              <a:rPr lang="ru-RU" dirty="0">
                <a:solidFill>
                  <a:prstClr val="black"/>
                </a:solidFill>
                <a:cs typeface="+mj-cs"/>
              </a:rPr>
              <a:t>растительные масла, </a:t>
            </a:r>
            <a:br>
              <a:rPr lang="ru-RU" dirty="0">
                <a:solidFill>
                  <a:prstClr val="black"/>
                </a:solidFill>
                <a:cs typeface="+mj-cs"/>
              </a:rPr>
            </a:br>
            <a:r>
              <a:rPr lang="ru-RU" dirty="0">
                <a:solidFill>
                  <a:prstClr val="black"/>
                </a:solidFill>
                <a:cs typeface="+mj-cs"/>
              </a:rPr>
              <a:t>семена масличных </a:t>
            </a:r>
          </a:p>
          <a:p>
            <a:pPr marL="268287" lvl="1" defTabSz="829544">
              <a:spcBef>
                <a:spcPts val="800"/>
              </a:spcBef>
              <a:buClr>
                <a:srgbClr val="0070C0"/>
              </a:buClr>
              <a:buSzPct val="120000"/>
              <a:defRPr/>
            </a:pPr>
            <a:endParaRPr lang="ru-RU" dirty="0">
              <a:solidFill>
                <a:prstClr val="black"/>
              </a:solidFill>
              <a:cs typeface="+mj-cs"/>
            </a:endParaRPr>
          </a:p>
          <a:p>
            <a:pPr marR="0" lvl="0" algn="l" defTabSz="829544" rtl="0" eaLnBrk="1" fontAlgn="auto" latinLnBrk="1" hangingPunct="1">
              <a:lnSpc>
                <a:spcPts val="2000"/>
              </a:lnSpc>
              <a:spcBef>
                <a:spcPts val="800"/>
              </a:spcBef>
              <a:spcAft>
                <a:spcPts val="0"/>
              </a:spcAft>
              <a:buClr>
                <a:srgbClr val="649941"/>
              </a:buClr>
              <a:buSzPct val="120000"/>
              <a:tabLst/>
              <a:defRPr/>
            </a:pP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</a:endParaRPr>
          </a:p>
        </p:txBody>
      </p:sp>
      <p:cxnSp>
        <p:nvCxnSpPr>
          <p:cNvPr id="6" name="Прямая соединительная линия 5">
            <a:extLst>
              <a:ext uri="{FF2B5EF4-FFF2-40B4-BE49-F238E27FC236}">
                <a16:creationId xmlns:a16="http://schemas.microsoft.com/office/drawing/2014/main" id="{E4BB9E09-F082-4C88-ABCC-3B4D2B0CF580}"/>
              </a:ext>
            </a:extLst>
          </p:cNvPr>
          <p:cNvCxnSpPr/>
          <p:nvPr/>
        </p:nvCxnSpPr>
        <p:spPr>
          <a:xfrm>
            <a:off x="5519936" y="4755965"/>
            <a:ext cx="0" cy="1764196"/>
          </a:xfrm>
          <a:prstGeom prst="line">
            <a:avLst/>
          </a:prstGeom>
          <a:ln w="79375">
            <a:solidFill>
              <a:srgbClr val="A4D144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" name="Заголовок 1"/>
          <p:cNvSpPr txBox="1">
            <a:spLocks/>
          </p:cNvSpPr>
          <p:nvPr/>
        </p:nvSpPr>
        <p:spPr>
          <a:xfrm>
            <a:off x="5127429" y="107898"/>
            <a:ext cx="4496308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r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typeface="Roboto" pitchFamily="2" charset="0"/>
              </a:rPr>
              <a:t>Перспективные товары</a:t>
            </a:r>
          </a:p>
          <a:p>
            <a:pPr marL="0" marR="0" lvl="0" indent="0" algn="l" defTabSz="829544" rtl="0" eaLnBrk="1" fontAlgn="auto" latinLnBrk="1" hangingPunct="1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4400" b="1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typeface="Roboto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07016609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extBox 14">
            <a:extLst>
              <a:ext uri="{FF2B5EF4-FFF2-40B4-BE49-F238E27FC236}">
                <a16:creationId xmlns:a16="http://schemas.microsoft.com/office/drawing/2014/main" id="{AA56BA2B-628A-440E-B140-E5DD4D1C328F}"/>
              </a:ext>
            </a:extLst>
          </p:cNvPr>
          <p:cNvSpPr txBox="1"/>
          <p:nvPr/>
        </p:nvSpPr>
        <p:spPr>
          <a:xfrm>
            <a:off x="4186852" y="298393"/>
            <a:ext cx="6768752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829544">
              <a:spcBef>
                <a:spcPct val="0"/>
              </a:spcBef>
            </a:pPr>
            <a:r>
              <a:rPr lang="ru-RU" sz="3600" b="1" dirty="0">
                <a:latin typeface="+mj-lt"/>
                <a:ea typeface="+mj-ea"/>
                <a:cs typeface="+mj-cs"/>
                <a:sym typeface="Roboto" pitchFamily="2" charset="0"/>
              </a:rPr>
              <a:t>Транзитные сделки</a:t>
            </a:r>
          </a:p>
        </p:txBody>
      </p:sp>
      <p:pic>
        <p:nvPicPr>
          <p:cNvPr id="16" name="Рисунок 15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222064" y="3104964"/>
            <a:ext cx="2124236" cy="2124236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10" name="Стрелка влево 9"/>
          <p:cNvSpPr/>
          <p:nvPr/>
        </p:nvSpPr>
        <p:spPr>
          <a:xfrm rot="739295">
            <a:off x="2906638" y="3374984"/>
            <a:ext cx="1969772" cy="252028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2" name="TextBox 11"/>
          <p:cNvSpPr txBox="1"/>
          <p:nvPr/>
        </p:nvSpPr>
        <p:spPr>
          <a:xfrm>
            <a:off x="5687255" y="3901896"/>
            <a:ext cx="1193853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ru-RU" dirty="0">
                <a:solidFill>
                  <a:schemeClr val="bg1"/>
                </a:solidFill>
              </a:rPr>
              <a:t>Россия</a:t>
            </a:r>
          </a:p>
        </p:txBody>
      </p:sp>
      <p:sp>
        <p:nvSpPr>
          <p:cNvPr id="19" name="Стрелка влево 18"/>
          <p:cNvSpPr/>
          <p:nvPr/>
        </p:nvSpPr>
        <p:spPr>
          <a:xfrm>
            <a:off x="1678698" y="3900616"/>
            <a:ext cx="3137079" cy="252028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20" name="Стрелка влево 19"/>
          <p:cNvSpPr/>
          <p:nvPr/>
        </p:nvSpPr>
        <p:spPr>
          <a:xfrm rot="21059334">
            <a:off x="3025356" y="4478103"/>
            <a:ext cx="1858897" cy="252028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00891F11-36FD-42C1-8072-05193DDF668C}"/>
              </a:ext>
            </a:extLst>
          </p:cNvPr>
          <p:cNvGrpSpPr/>
          <p:nvPr/>
        </p:nvGrpSpPr>
        <p:grpSpPr>
          <a:xfrm>
            <a:off x="884894" y="1454502"/>
            <a:ext cx="1127613" cy="1146406"/>
            <a:chOff x="991351" y="1267367"/>
            <a:chExt cx="1127613" cy="1146406"/>
          </a:xfrm>
        </p:grpSpPr>
        <p:pic>
          <p:nvPicPr>
            <p:cNvPr id="3" name="Рисунок 2">
              <a:extLst>
                <a:ext uri="{FF2B5EF4-FFF2-40B4-BE49-F238E27FC236}">
                  <a16:creationId xmlns:a16="http://schemas.microsoft.com/office/drawing/2014/main" id="{3F846211-B70E-43E1-801C-5D63CDCE2F53}"/>
                </a:ext>
              </a:extLst>
            </p:cNvPr>
            <p:cNvPicPr>
              <a:picLocks noChangeAspect="1"/>
            </p:cNvPicPr>
            <p:nvPr/>
          </p:nvPicPr>
          <p:blipFill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1351" y="1267367"/>
              <a:ext cx="1127613" cy="1146406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1" name="TextBox 20"/>
            <p:cNvSpPr txBox="1"/>
            <p:nvPr/>
          </p:nvSpPr>
          <p:spPr>
            <a:xfrm>
              <a:off x="1042452" y="1633020"/>
              <a:ext cx="1025409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/>
                <a:t>Латвия</a:t>
              </a:r>
            </a:p>
          </p:txBody>
        </p:sp>
      </p:grpSp>
      <p:grpSp>
        <p:nvGrpSpPr>
          <p:cNvPr id="18" name="Группа 17">
            <a:extLst>
              <a:ext uri="{FF2B5EF4-FFF2-40B4-BE49-F238E27FC236}">
                <a16:creationId xmlns:a16="http://schemas.microsoft.com/office/drawing/2014/main" id="{51D025D0-91A2-4677-BE67-D547DE42B1F4}"/>
              </a:ext>
            </a:extLst>
          </p:cNvPr>
          <p:cNvGrpSpPr/>
          <p:nvPr/>
        </p:nvGrpSpPr>
        <p:grpSpPr>
          <a:xfrm>
            <a:off x="1721479" y="2642634"/>
            <a:ext cx="1127612" cy="1146406"/>
            <a:chOff x="572911" y="2322552"/>
            <a:chExt cx="1127612" cy="1146406"/>
          </a:xfrm>
        </p:grpSpPr>
        <p:pic>
          <p:nvPicPr>
            <p:cNvPr id="5" name="Рисунок 4">
              <a:extLst>
                <a:ext uri="{FF2B5EF4-FFF2-40B4-BE49-F238E27FC236}">
                  <a16:creationId xmlns:a16="http://schemas.microsoft.com/office/drawing/2014/main" id="{D79E33EC-B96F-4A0D-BBA7-A147E065B60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72911" y="2322552"/>
              <a:ext cx="1127612" cy="1146406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sp>
          <p:nvSpPr>
            <p:cNvPr id="22" name="TextBox 21"/>
            <p:cNvSpPr txBox="1"/>
            <p:nvPr/>
          </p:nvSpPr>
          <p:spPr>
            <a:xfrm>
              <a:off x="692364" y="2675250"/>
              <a:ext cx="88870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solidFill>
                    <a:schemeClr val="bg1"/>
                  </a:solidFill>
                </a:rPr>
                <a:t>Литва</a:t>
              </a:r>
            </a:p>
          </p:txBody>
        </p:sp>
      </p:grpSp>
      <p:sp>
        <p:nvSpPr>
          <p:cNvPr id="23" name="Стрелка влево 22"/>
          <p:cNvSpPr/>
          <p:nvPr/>
        </p:nvSpPr>
        <p:spPr>
          <a:xfrm rot="20553392">
            <a:off x="1736228" y="5373276"/>
            <a:ext cx="3351703" cy="252028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9" name="Группа 38">
            <a:extLst>
              <a:ext uri="{FF2B5EF4-FFF2-40B4-BE49-F238E27FC236}">
                <a16:creationId xmlns:a16="http://schemas.microsoft.com/office/drawing/2014/main" id="{F0784C89-808E-43E0-BF94-186165A54487}"/>
              </a:ext>
            </a:extLst>
          </p:cNvPr>
          <p:cNvGrpSpPr/>
          <p:nvPr/>
        </p:nvGrpSpPr>
        <p:grpSpPr>
          <a:xfrm>
            <a:off x="512893" y="5301208"/>
            <a:ext cx="1181565" cy="1186911"/>
            <a:chOff x="304831" y="5454904"/>
            <a:chExt cx="1181565" cy="1186911"/>
          </a:xfrm>
        </p:grpSpPr>
        <p:pic>
          <p:nvPicPr>
            <p:cNvPr id="13" name="Рисунок 12">
              <a:extLst>
                <a:ext uri="{FF2B5EF4-FFF2-40B4-BE49-F238E27FC236}">
                  <a16:creationId xmlns:a16="http://schemas.microsoft.com/office/drawing/2014/main" id="{424F5905-D90F-465D-9E3B-976E66DAB9B3}"/>
                </a:ext>
              </a:extLst>
            </p:cNvPr>
            <p:cNvPicPr>
              <a:picLocks noChangeAspect="1"/>
            </p:cNvPicPr>
            <p:nvPr/>
          </p:nvPicPr>
          <p:blipFill>
            <a:blip r:embed="rId6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18942" y="5454904"/>
              <a:ext cx="1167454" cy="1186911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4" name="TextBox 23"/>
            <p:cNvSpPr txBox="1"/>
            <p:nvPr/>
          </p:nvSpPr>
          <p:spPr>
            <a:xfrm>
              <a:off x="304831" y="5808325"/>
              <a:ext cx="1177245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solidFill>
                    <a:schemeClr val="bg1"/>
                  </a:solidFill>
                </a:rPr>
                <a:t>Эстония</a:t>
              </a:r>
            </a:p>
          </p:txBody>
        </p:sp>
      </p:grpSp>
      <p:grpSp>
        <p:nvGrpSpPr>
          <p:cNvPr id="37" name="Группа 36">
            <a:extLst>
              <a:ext uri="{FF2B5EF4-FFF2-40B4-BE49-F238E27FC236}">
                <a16:creationId xmlns:a16="http://schemas.microsoft.com/office/drawing/2014/main" id="{9320CF44-8E48-42FE-AC15-4F25199CD8D8}"/>
              </a:ext>
            </a:extLst>
          </p:cNvPr>
          <p:cNvGrpSpPr/>
          <p:nvPr/>
        </p:nvGrpSpPr>
        <p:grpSpPr>
          <a:xfrm>
            <a:off x="294036" y="3440263"/>
            <a:ext cx="1173314" cy="1192869"/>
            <a:chOff x="227348" y="3356273"/>
            <a:chExt cx="1173314" cy="1192869"/>
          </a:xfrm>
        </p:grpSpPr>
        <p:pic>
          <p:nvPicPr>
            <p:cNvPr id="9" name="Рисунок 8">
              <a:extLst>
                <a:ext uri="{FF2B5EF4-FFF2-40B4-BE49-F238E27FC236}">
                  <a16:creationId xmlns:a16="http://schemas.microsoft.com/office/drawing/2014/main" id="{8536A6DD-8F04-48D1-9F3A-D277C820CE0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7348" y="3356273"/>
              <a:ext cx="1173314" cy="1192869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5" name="TextBox 24"/>
            <p:cNvSpPr txBox="1"/>
            <p:nvPr/>
          </p:nvSpPr>
          <p:spPr>
            <a:xfrm>
              <a:off x="245996" y="3627028"/>
              <a:ext cx="1136017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/>
                <a:t>Польша</a:t>
              </a:r>
            </a:p>
          </p:txBody>
        </p:sp>
      </p:grpSp>
      <p:sp>
        <p:nvSpPr>
          <p:cNvPr id="26" name="Стрелка влево 25"/>
          <p:cNvSpPr/>
          <p:nvPr/>
        </p:nvSpPr>
        <p:spPr>
          <a:xfrm rot="1384100">
            <a:off x="2040220" y="2584196"/>
            <a:ext cx="3081040" cy="252028"/>
          </a:xfrm>
          <a:prstGeom prst="leftArrow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grpSp>
        <p:nvGrpSpPr>
          <p:cNvPr id="38" name="Группа 37">
            <a:extLst>
              <a:ext uri="{FF2B5EF4-FFF2-40B4-BE49-F238E27FC236}">
                <a16:creationId xmlns:a16="http://schemas.microsoft.com/office/drawing/2014/main" id="{5A76C339-312A-4905-9C3C-547E619B6F26}"/>
              </a:ext>
            </a:extLst>
          </p:cNvPr>
          <p:cNvGrpSpPr/>
          <p:nvPr/>
        </p:nvGrpSpPr>
        <p:grpSpPr>
          <a:xfrm>
            <a:off x="1721479" y="4308536"/>
            <a:ext cx="1167454" cy="1167454"/>
            <a:chOff x="332142" y="4511417"/>
            <a:chExt cx="1167454" cy="1167454"/>
          </a:xfrm>
        </p:grpSpPr>
        <p:pic>
          <p:nvPicPr>
            <p:cNvPr id="36" name="Рисунок 35">
              <a:extLst>
                <a:ext uri="{FF2B5EF4-FFF2-40B4-BE49-F238E27FC236}">
                  <a16:creationId xmlns:a16="http://schemas.microsoft.com/office/drawing/2014/main" id="{17FDDB2D-8C44-4973-8F74-1CC287DC0C92}"/>
                </a:ext>
              </a:extLst>
            </p:cNvPr>
            <p:cNvPicPr>
              <a:picLocks noChangeAspect="1"/>
            </p:cNvPicPr>
            <p:nvPr/>
          </p:nvPicPr>
          <p:blipFill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332142" y="4511417"/>
              <a:ext cx="1167454" cy="1167454"/>
            </a:xfrm>
            <a:prstGeom prst="rect">
              <a:avLst/>
            </a:prstGeom>
            <a:ln>
              <a:noFill/>
            </a:ln>
            <a:effectLst>
              <a:outerShdw blurRad="292100" dist="139700" dir="2700000" algn="tl" rotWithShape="0">
                <a:srgbClr val="333333">
                  <a:alpha val="65000"/>
                </a:srgbClr>
              </a:outerShdw>
            </a:effectLst>
          </p:spPr>
        </p:pic>
        <p:sp>
          <p:nvSpPr>
            <p:cNvPr id="27" name="TextBox 26"/>
            <p:cNvSpPr txBox="1"/>
            <p:nvPr/>
          </p:nvSpPr>
          <p:spPr>
            <a:xfrm>
              <a:off x="402780" y="4887955"/>
              <a:ext cx="1026178" cy="40011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2000" dirty="0">
                  <a:solidFill>
                    <a:schemeClr val="bg1"/>
                  </a:solidFill>
                </a:rPr>
                <a:t>Россия</a:t>
              </a:r>
            </a:p>
          </p:txBody>
        </p:sp>
      </p:grpSp>
      <p:sp>
        <p:nvSpPr>
          <p:cNvPr id="34" name="Прямоугольник 33"/>
          <p:cNvSpPr/>
          <p:nvPr/>
        </p:nvSpPr>
        <p:spPr>
          <a:xfrm>
            <a:off x="5351112" y="1287680"/>
            <a:ext cx="899344" cy="132343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r>
              <a:rPr lang="ru-RU" sz="8000" dirty="0">
                <a:solidFill>
                  <a:schemeClr val="accent1"/>
                </a:solidFill>
              </a:rPr>
              <a:t>7</a:t>
            </a:r>
            <a:endParaRPr lang="ru-RU" dirty="0"/>
          </a:p>
        </p:txBody>
      </p:sp>
      <p:sp>
        <p:nvSpPr>
          <p:cNvPr id="35" name="TextBox 34"/>
          <p:cNvSpPr txBox="1"/>
          <p:nvPr/>
        </p:nvSpPr>
        <p:spPr>
          <a:xfrm>
            <a:off x="5983404" y="1324908"/>
            <a:ext cx="1162828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dirty="0">
                <a:solidFill>
                  <a:schemeClr val="accent3"/>
                </a:solidFill>
                <a:sym typeface="Roboto" pitchFamily="2" charset="0"/>
              </a:rPr>
              <a:t>млн </a:t>
            </a:r>
            <a:br>
              <a:rPr lang="ru-RU" sz="3600" dirty="0">
                <a:solidFill>
                  <a:schemeClr val="accent3"/>
                </a:solidFill>
                <a:sym typeface="Roboto" pitchFamily="2" charset="0"/>
              </a:rPr>
            </a:br>
            <a:r>
              <a:rPr lang="en-US" sz="3600" dirty="0">
                <a:solidFill>
                  <a:schemeClr val="accent3"/>
                </a:solidFill>
                <a:sym typeface="Roboto" pitchFamily="2" charset="0"/>
              </a:rPr>
              <a:t>USD</a:t>
            </a:r>
            <a:endParaRPr lang="ru-RU" sz="3600" dirty="0">
              <a:solidFill>
                <a:schemeClr val="accent3"/>
              </a:solidFill>
              <a:sym typeface="Roboto" pitchFamily="2" charset="0"/>
            </a:endParaRPr>
          </a:p>
        </p:txBody>
      </p:sp>
      <p:grpSp>
        <p:nvGrpSpPr>
          <p:cNvPr id="42" name="Группа 41">
            <a:extLst>
              <a:ext uri="{FF2B5EF4-FFF2-40B4-BE49-F238E27FC236}">
                <a16:creationId xmlns:a16="http://schemas.microsoft.com/office/drawing/2014/main" id="{6B8F2554-2751-43C5-B62C-B6128CACEF81}"/>
              </a:ext>
            </a:extLst>
          </p:cNvPr>
          <p:cNvGrpSpPr/>
          <p:nvPr/>
        </p:nvGrpSpPr>
        <p:grpSpPr>
          <a:xfrm>
            <a:off x="9969807" y="112306"/>
            <a:ext cx="1972015" cy="1504513"/>
            <a:chOff x="8005782" y="1266426"/>
            <a:chExt cx="1972015" cy="1504513"/>
          </a:xfrm>
        </p:grpSpPr>
        <p:sp>
          <p:nvSpPr>
            <p:cNvPr id="28" name="TextBox 27"/>
            <p:cNvSpPr txBox="1"/>
            <p:nvPr/>
          </p:nvSpPr>
          <p:spPr>
            <a:xfrm>
              <a:off x="8005782" y="1266426"/>
              <a:ext cx="1972015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800" b="1" dirty="0" err="1">
                  <a:solidFill>
                    <a:srgbClr val="649941"/>
                  </a:solidFill>
                </a:rPr>
                <a:t>Лесопродукция</a:t>
              </a:r>
              <a:endParaRPr lang="ru-RU" sz="1800" b="1" dirty="0">
                <a:solidFill>
                  <a:srgbClr val="649941"/>
                </a:solidFill>
              </a:endParaRPr>
            </a:p>
          </p:txBody>
        </p:sp>
        <p:pic>
          <p:nvPicPr>
            <p:cNvPr id="41" name="Рисунок 40">
              <a:extLst>
                <a:ext uri="{FF2B5EF4-FFF2-40B4-BE49-F238E27FC236}">
                  <a16:creationId xmlns:a16="http://schemas.microsoft.com/office/drawing/2014/main" id="{B7201A13-1279-42B2-A42D-B8C5110EAE2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8127484" y="1619262"/>
              <a:ext cx="1728192" cy="1151677"/>
            </a:xfrm>
            <a:prstGeom prst="rect">
              <a:avLst/>
            </a:prstGeom>
          </p:spPr>
        </p:pic>
      </p:grpSp>
      <p:grpSp>
        <p:nvGrpSpPr>
          <p:cNvPr id="45" name="Группа 44">
            <a:extLst>
              <a:ext uri="{FF2B5EF4-FFF2-40B4-BE49-F238E27FC236}">
                <a16:creationId xmlns:a16="http://schemas.microsoft.com/office/drawing/2014/main" id="{820DED18-81C6-45A1-B68F-A0538A9A116A}"/>
              </a:ext>
            </a:extLst>
          </p:cNvPr>
          <p:cNvGrpSpPr/>
          <p:nvPr/>
        </p:nvGrpSpPr>
        <p:grpSpPr>
          <a:xfrm>
            <a:off x="9863703" y="1714878"/>
            <a:ext cx="2183803" cy="1503051"/>
            <a:chOff x="9786234" y="2650101"/>
            <a:chExt cx="2183803" cy="1503051"/>
          </a:xfrm>
        </p:grpSpPr>
        <p:sp>
          <p:nvSpPr>
            <p:cNvPr id="29" name="TextBox 28"/>
            <p:cNvSpPr txBox="1"/>
            <p:nvPr/>
          </p:nvSpPr>
          <p:spPr>
            <a:xfrm>
              <a:off x="9786234" y="2650101"/>
              <a:ext cx="2183803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800" b="1" dirty="0">
                  <a:solidFill>
                    <a:srgbClr val="649941"/>
                  </a:solidFill>
                </a:rPr>
                <a:t>Стройматериалы</a:t>
              </a:r>
            </a:p>
          </p:txBody>
        </p:sp>
        <p:pic>
          <p:nvPicPr>
            <p:cNvPr id="44" name="Рисунок 43">
              <a:extLst>
                <a:ext uri="{FF2B5EF4-FFF2-40B4-BE49-F238E27FC236}">
                  <a16:creationId xmlns:a16="http://schemas.microsoft.com/office/drawing/2014/main" id="{D6266760-A3C6-4B8C-8069-52A4C22B8CE3}"/>
                </a:ext>
              </a:extLst>
            </p:cNvPr>
            <p:cNvPicPr>
              <a:picLocks noChangeAspect="1"/>
            </p:cNvPicPr>
            <p:nvPr/>
          </p:nvPicPr>
          <p:blipFill>
            <a:blip r:embed="rId9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014631" y="3001474"/>
              <a:ext cx="1730501" cy="1151678"/>
            </a:xfrm>
            <a:prstGeom prst="rect">
              <a:avLst/>
            </a:prstGeom>
          </p:spPr>
        </p:pic>
      </p:grpSp>
      <p:grpSp>
        <p:nvGrpSpPr>
          <p:cNvPr id="48" name="Группа 47">
            <a:extLst>
              <a:ext uri="{FF2B5EF4-FFF2-40B4-BE49-F238E27FC236}">
                <a16:creationId xmlns:a16="http://schemas.microsoft.com/office/drawing/2014/main" id="{C3528A20-077C-4EC0-8DF0-DE779DD6B0F9}"/>
              </a:ext>
            </a:extLst>
          </p:cNvPr>
          <p:cNvGrpSpPr/>
          <p:nvPr/>
        </p:nvGrpSpPr>
        <p:grpSpPr>
          <a:xfrm>
            <a:off x="9895721" y="3315988"/>
            <a:ext cx="2046101" cy="1673018"/>
            <a:chOff x="9957042" y="4342564"/>
            <a:chExt cx="2046101" cy="1673018"/>
          </a:xfrm>
        </p:grpSpPr>
        <p:pic>
          <p:nvPicPr>
            <p:cNvPr id="47" name="Рисунок 46">
              <a:extLst>
                <a:ext uri="{FF2B5EF4-FFF2-40B4-BE49-F238E27FC236}">
                  <a16:creationId xmlns:a16="http://schemas.microsoft.com/office/drawing/2014/main" id="{8EA8D78B-A143-4CA1-9D12-C85189223D2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10117189" y="4863904"/>
              <a:ext cx="1725808" cy="1151678"/>
            </a:xfrm>
            <a:prstGeom prst="rect">
              <a:avLst/>
            </a:prstGeom>
          </p:spPr>
        </p:pic>
        <p:sp>
          <p:nvSpPr>
            <p:cNvPr id="60" name="TextBox 59">
              <a:extLst>
                <a:ext uri="{FF2B5EF4-FFF2-40B4-BE49-F238E27FC236}">
                  <a16:creationId xmlns:a16="http://schemas.microsoft.com/office/drawing/2014/main" id="{0097F2A1-D8EA-4B51-9227-F6B2C9AA7366}"/>
                </a:ext>
              </a:extLst>
            </p:cNvPr>
            <p:cNvSpPr txBox="1"/>
            <p:nvPr/>
          </p:nvSpPr>
          <p:spPr>
            <a:xfrm>
              <a:off x="9957042" y="4342564"/>
              <a:ext cx="2046101" cy="55399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algn="ctr">
                <a:lnSpc>
                  <a:spcPts val="1800"/>
                </a:lnSpc>
              </a:pPr>
              <a:r>
                <a:rPr lang="ru-RU" sz="1800" b="1" dirty="0">
                  <a:solidFill>
                    <a:srgbClr val="649941"/>
                  </a:solidFill>
                </a:rPr>
                <a:t>Оборудование</a:t>
              </a:r>
              <a:r>
                <a:rPr lang="en-US" sz="1800" b="1" dirty="0">
                  <a:solidFill>
                    <a:srgbClr val="649941"/>
                  </a:solidFill>
                </a:rPr>
                <a:t> </a:t>
              </a:r>
              <a:r>
                <a:rPr lang="ru-RU" sz="1800" b="1" dirty="0">
                  <a:solidFill>
                    <a:srgbClr val="649941"/>
                  </a:solidFill>
                </a:rPr>
                <a:t>и механизмы</a:t>
              </a:r>
            </a:p>
          </p:txBody>
        </p:sp>
      </p:grpSp>
      <p:grpSp>
        <p:nvGrpSpPr>
          <p:cNvPr id="53" name="Группа 52">
            <a:extLst>
              <a:ext uri="{FF2B5EF4-FFF2-40B4-BE49-F238E27FC236}">
                <a16:creationId xmlns:a16="http://schemas.microsoft.com/office/drawing/2014/main" id="{7472F69C-8BF2-482A-BA22-3B0BAA70F21B}"/>
              </a:ext>
            </a:extLst>
          </p:cNvPr>
          <p:cNvGrpSpPr/>
          <p:nvPr/>
        </p:nvGrpSpPr>
        <p:grpSpPr>
          <a:xfrm>
            <a:off x="7824192" y="1109071"/>
            <a:ext cx="1725149" cy="1504823"/>
            <a:chOff x="7881232" y="2046390"/>
            <a:chExt cx="1725149" cy="1504823"/>
          </a:xfrm>
        </p:grpSpPr>
        <p:sp>
          <p:nvSpPr>
            <p:cNvPr id="33" name="TextBox 32"/>
            <p:cNvSpPr txBox="1"/>
            <p:nvPr/>
          </p:nvSpPr>
          <p:spPr>
            <a:xfrm>
              <a:off x="7925120" y="2046390"/>
              <a:ext cx="163737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800" b="1" dirty="0">
                  <a:solidFill>
                    <a:srgbClr val="649941"/>
                  </a:solidFill>
                </a:rPr>
                <a:t>Нефтехимия</a:t>
              </a:r>
            </a:p>
          </p:txBody>
        </p:sp>
        <p:pic>
          <p:nvPicPr>
            <p:cNvPr id="52" name="Рисунок 51">
              <a:extLst>
                <a:ext uri="{FF2B5EF4-FFF2-40B4-BE49-F238E27FC236}">
                  <a16:creationId xmlns:a16="http://schemas.microsoft.com/office/drawing/2014/main" id="{5B818406-DDB2-4B2E-987E-D0A490A7B0E0}"/>
                </a:ext>
              </a:extLst>
            </p:cNvPr>
            <p:cNvPicPr>
              <a:picLocks noChangeAspect="1"/>
            </p:cNvPicPr>
            <p:nvPr/>
          </p:nvPicPr>
          <p:blipFill>
            <a:blip r:embed="rId11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81232" y="2405565"/>
              <a:ext cx="1725149" cy="1145648"/>
            </a:xfrm>
            <a:prstGeom prst="rect">
              <a:avLst/>
            </a:prstGeom>
          </p:spPr>
        </p:pic>
      </p:grpSp>
      <p:grpSp>
        <p:nvGrpSpPr>
          <p:cNvPr id="56" name="Группа 55">
            <a:extLst>
              <a:ext uri="{FF2B5EF4-FFF2-40B4-BE49-F238E27FC236}">
                <a16:creationId xmlns:a16="http://schemas.microsoft.com/office/drawing/2014/main" id="{000DAC1C-903F-4B7D-96C0-B1558A0E6465}"/>
              </a:ext>
            </a:extLst>
          </p:cNvPr>
          <p:cNvGrpSpPr/>
          <p:nvPr/>
        </p:nvGrpSpPr>
        <p:grpSpPr>
          <a:xfrm>
            <a:off x="7835853" y="2900236"/>
            <a:ext cx="1730501" cy="1486107"/>
            <a:chOff x="7823978" y="3741796"/>
            <a:chExt cx="1730501" cy="1486107"/>
          </a:xfrm>
        </p:grpSpPr>
        <p:sp>
          <p:nvSpPr>
            <p:cNvPr id="31" name="TextBox 30"/>
            <p:cNvSpPr txBox="1"/>
            <p:nvPr/>
          </p:nvSpPr>
          <p:spPr>
            <a:xfrm>
              <a:off x="8158377" y="3741796"/>
              <a:ext cx="1061701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800" b="1" dirty="0">
                  <a:solidFill>
                    <a:srgbClr val="649941"/>
                  </a:solidFill>
                </a:rPr>
                <a:t>Мебель</a:t>
              </a:r>
            </a:p>
          </p:txBody>
        </p:sp>
        <p:pic>
          <p:nvPicPr>
            <p:cNvPr id="55" name="Рисунок 54">
              <a:extLst>
                <a:ext uri="{FF2B5EF4-FFF2-40B4-BE49-F238E27FC236}">
                  <a16:creationId xmlns:a16="http://schemas.microsoft.com/office/drawing/2014/main" id="{64B890A7-5D25-4AC5-9586-EF0FF5667A7B}"/>
                </a:ext>
              </a:extLst>
            </p:cNvPr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23978" y="4082766"/>
              <a:ext cx="1730501" cy="1145137"/>
            </a:xfrm>
            <a:prstGeom prst="rect">
              <a:avLst/>
            </a:prstGeom>
          </p:spPr>
        </p:pic>
      </p:grpSp>
      <p:grpSp>
        <p:nvGrpSpPr>
          <p:cNvPr id="59" name="Группа 58">
            <a:extLst>
              <a:ext uri="{FF2B5EF4-FFF2-40B4-BE49-F238E27FC236}">
                <a16:creationId xmlns:a16="http://schemas.microsoft.com/office/drawing/2014/main" id="{5613E20B-7C37-4EA6-AFF6-8F890F63B406}"/>
              </a:ext>
            </a:extLst>
          </p:cNvPr>
          <p:cNvGrpSpPr/>
          <p:nvPr/>
        </p:nvGrpSpPr>
        <p:grpSpPr>
          <a:xfrm>
            <a:off x="9887285" y="5087066"/>
            <a:ext cx="2054537" cy="1478466"/>
            <a:chOff x="7683499" y="5204573"/>
            <a:chExt cx="2054537" cy="1478466"/>
          </a:xfrm>
        </p:grpSpPr>
        <p:sp>
          <p:nvSpPr>
            <p:cNvPr id="32" name="TextBox 31"/>
            <p:cNvSpPr txBox="1"/>
            <p:nvPr/>
          </p:nvSpPr>
          <p:spPr>
            <a:xfrm>
              <a:off x="7683499" y="5204573"/>
              <a:ext cx="2054537" cy="36933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r>
                <a:rPr lang="ru-RU" sz="1800" b="1" dirty="0">
                  <a:solidFill>
                    <a:srgbClr val="649941"/>
                  </a:solidFill>
                </a:rPr>
                <a:t>Рапсовое масло</a:t>
              </a:r>
            </a:p>
          </p:txBody>
        </p:sp>
        <p:pic>
          <p:nvPicPr>
            <p:cNvPr id="58" name="Рисунок 57">
              <a:extLst>
                <a:ext uri="{FF2B5EF4-FFF2-40B4-BE49-F238E27FC236}">
                  <a16:creationId xmlns:a16="http://schemas.microsoft.com/office/drawing/2014/main" id="{9800A9D1-F700-4F3C-A886-C7A3ECC4EC6F}"/>
                </a:ext>
              </a:extLst>
            </p:cNvPr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7844784" y="5537901"/>
              <a:ext cx="1717707" cy="1145138"/>
            </a:xfrm>
            <a:prstGeom prst="rect">
              <a:avLst/>
            </a:prstGeom>
          </p:spPr>
        </p:pic>
      </p:grpSp>
      <p:sp>
        <p:nvSpPr>
          <p:cNvPr id="49" name="TextBox 48">
            <a:extLst>
              <a:ext uri="{FF2B5EF4-FFF2-40B4-BE49-F238E27FC236}">
                <a16:creationId xmlns:a16="http://schemas.microsoft.com/office/drawing/2014/main" id="{1ED80F3E-E9E0-4308-AC32-3C0845B7A796}"/>
              </a:ext>
            </a:extLst>
          </p:cNvPr>
          <p:cNvSpPr txBox="1"/>
          <p:nvPr/>
        </p:nvSpPr>
        <p:spPr>
          <a:xfrm>
            <a:off x="7848477" y="4677340"/>
            <a:ext cx="1795027" cy="3693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ru-RU" sz="1800" b="1" dirty="0">
                <a:solidFill>
                  <a:srgbClr val="649941"/>
                </a:solidFill>
              </a:rPr>
              <a:t>Сухое молоко</a:t>
            </a:r>
          </a:p>
        </p:txBody>
      </p:sp>
      <p:pic>
        <p:nvPicPr>
          <p:cNvPr id="4" name="Рисунок 3">
            <a:extLst>
              <a:ext uri="{FF2B5EF4-FFF2-40B4-BE49-F238E27FC236}">
                <a16:creationId xmlns:a16="http://schemas.microsoft.com/office/drawing/2014/main" id="{A266AB2A-AC94-447C-B41E-4CAC7EECD657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40882" y="5087066"/>
            <a:ext cx="1725682" cy="129426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02281530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авнобедренный треугольник 1">
            <a:extLst>
              <a:ext uri="{FF2B5EF4-FFF2-40B4-BE49-F238E27FC236}">
                <a16:creationId xmlns:a16="http://schemas.microsoft.com/office/drawing/2014/main" id="{EF381A8F-4326-4321-A852-EEA3D850DB10}"/>
              </a:ext>
            </a:extLst>
          </p:cNvPr>
          <p:cNvSpPr/>
          <p:nvPr/>
        </p:nvSpPr>
        <p:spPr>
          <a:xfrm>
            <a:off x="4724401" y="920463"/>
            <a:ext cx="1932768" cy="5577886"/>
          </a:xfrm>
          <a:custGeom>
            <a:avLst/>
            <a:gdLst>
              <a:gd name="connsiteX0" fmla="*/ 0 w 1925899"/>
              <a:gd name="connsiteY0" fmla="*/ 6483927 h 6483927"/>
              <a:gd name="connsiteX1" fmla="*/ 962950 w 1925899"/>
              <a:gd name="connsiteY1" fmla="*/ 0 h 6483927"/>
              <a:gd name="connsiteX2" fmla="*/ 1925899 w 1925899"/>
              <a:gd name="connsiteY2" fmla="*/ 6483927 h 6483927"/>
              <a:gd name="connsiteX3" fmla="*/ 0 w 1925899"/>
              <a:gd name="connsiteY3" fmla="*/ 6483927 h 6483927"/>
              <a:gd name="connsiteX0" fmla="*/ 0 w 1932768"/>
              <a:gd name="connsiteY0" fmla="*/ 6534727 h 6534727"/>
              <a:gd name="connsiteX1" fmla="*/ 1932768 w 1932768"/>
              <a:gd name="connsiteY1" fmla="*/ 0 h 6534727"/>
              <a:gd name="connsiteX2" fmla="*/ 1925899 w 1932768"/>
              <a:gd name="connsiteY2" fmla="*/ 6534727 h 6534727"/>
              <a:gd name="connsiteX3" fmla="*/ 0 w 1932768"/>
              <a:gd name="connsiteY3" fmla="*/ 6534727 h 6534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2768" h="6534727">
                <a:moveTo>
                  <a:pt x="0" y="6534727"/>
                </a:moveTo>
                <a:lnTo>
                  <a:pt x="1932768" y="0"/>
                </a:lnTo>
                <a:cubicBezTo>
                  <a:pt x="1930478" y="2178242"/>
                  <a:pt x="1928189" y="4356485"/>
                  <a:pt x="1925899" y="6534727"/>
                </a:cubicBezTo>
                <a:lnTo>
                  <a:pt x="0" y="6534727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16" name="Text Box 11">
            <a:extLst>
              <a:ext uri="{FF2B5EF4-FFF2-40B4-BE49-F238E27FC236}">
                <a16:creationId xmlns:a16="http://schemas.microsoft.com/office/drawing/2014/main" id="{25BC2923-CF1E-4887-8DFA-6CA68F8CD0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7047000" y="2564904"/>
            <a:ext cx="4312379" cy="267765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lang="ru-RU" sz="3200" b="1" dirty="0">
                <a:latin typeface="Arial" panose="020B0604020202020204" pitchFamily="34" charset="0"/>
                <a:sym typeface="Roboto" pitchFamily="2" charset="0"/>
              </a:rPr>
              <a:t>Доступ к </a:t>
            </a:r>
            <a:endParaRPr lang="ar-EG" sz="3200" b="1" dirty="0">
              <a:latin typeface="Arial" panose="020B0604020202020204" pitchFamily="34" charset="0"/>
              <a:sym typeface="Roboto" pitchFamily="2" charset="0"/>
            </a:endParaRPr>
          </a:p>
          <a:p>
            <a:r>
              <a:rPr lang="ar-EG" sz="7200" dirty="0">
                <a:solidFill>
                  <a:schemeClr val="accent1"/>
                </a:solidFill>
                <a:sym typeface="Roboto" pitchFamily="2" charset="0"/>
              </a:rPr>
              <a:t>2</a:t>
            </a:r>
            <a:r>
              <a:rPr lang="ru-RU" sz="7200" dirty="0">
                <a:solidFill>
                  <a:schemeClr val="accent1"/>
                </a:solidFill>
                <a:sym typeface="Roboto" pitchFamily="2" charset="0"/>
              </a:rPr>
              <a:t>3</a:t>
            </a:r>
            <a:r>
              <a:rPr lang="ar-EG" sz="7200" dirty="0">
                <a:solidFill>
                  <a:schemeClr val="accent1"/>
                </a:solidFill>
                <a:sym typeface="Roboto" pitchFamily="2" charset="0"/>
              </a:rPr>
              <a:t>000 </a:t>
            </a:r>
          </a:p>
          <a:p>
            <a:pPr>
              <a:lnSpc>
                <a:spcPct val="90000"/>
              </a:lnSpc>
            </a:pPr>
            <a:r>
              <a:rPr lang="ru-RU" sz="3200" b="1" dirty="0">
                <a:latin typeface="Arial" panose="020B0604020202020204" pitchFamily="34" charset="0"/>
                <a:sym typeface="Roboto" pitchFamily="2" charset="0"/>
              </a:rPr>
              <a:t>белорусских</a:t>
            </a:r>
          </a:p>
          <a:p>
            <a:pPr>
              <a:lnSpc>
                <a:spcPct val="90000"/>
              </a:lnSpc>
            </a:pPr>
            <a:r>
              <a:rPr lang="ru-RU" sz="3200" b="1" dirty="0">
                <a:latin typeface="Arial" panose="020B0604020202020204" pitchFamily="34" charset="0"/>
                <a:sym typeface="Roboto" pitchFamily="2" charset="0"/>
              </a:rPr>
              <a:t>предприятий</a:t>
            </a:r>
          </a:p>
        </p:txBody>
      </p:sp>
      <p:cxnSp>
        <p:nvCxnSpPr>
          <p:cNvPr id="5" name="Прямая соединительная линия 4">
            <a:extLst>
              <a:ext uri="{FF2B5EF4-FFF2-40B4-BE49-F238E27FC236}">
                <a16:creationId xmlns:a16="http://schemas.microsoft.com/office/drawing/2014/main" id="{1B788D19-E3AF-4E38-995C-18E96E8C5B51}"/>
              </a:ext>
            </a:extLst>
          </p:cNvPr>
          <p:cNvCxnSpPr/>
          <p:nvPr/>
        </p:nvCxnSpPr>
        <p:spPr>
          <a:xfrm>
            <a:off x="6852084" y="2636912"/>
            <a:ext cx="0" cy="2448272"/>
          </a:xfrm>
          <a:prstGeom prst="line">
            <a:avLst/>
          </a:prstGeom>
          <a:ln w="44450">
            <a:solidFill>
              <a:srgbClr val="6499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brightnessContrast contrast="-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424" y="1637477"/>
            <a:ext cx="4916434" cy="4245873"/>
          </a:xfrm>
          <a:prstGeom prst="rect">
            <a:avLst/>
          </a:prstGeom>
        </p:spPr>
      </p:pic>
      <p:sp>
        <p:nvSpPr>
          <p:cNvPr id="7" name="TextBox 6">
            <a:extLst>
              <a:ext uri="{FF2B5EF4-FFF2-40B4-BE49-F238E27FC236}">
                <a16:creationId xmlns:a16="http://schemas.microsoft.com/office/drawing/2014/main" id="{AA56BA2B-628A-440E-B140-E5DD4D1C328F}"/>
              </a:ext>
            </a:extLst>
          </p:cNvPr>
          <p:cNvSpPr txBox="1"/>
          <p:nvPr/>
        </p:nvSpPr>
        <p:spPr>
          <a:xfrm>
            <a:off x="3863752" y="189441"/>
            <a:ext cx="7387843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b="1" dirty="0">
                <a:latin typeface="+mj-lt"/>
                <a:ea typeface="+mj-ea"/>
                <a:cs typeface="+mj-cs"/>
                <a:sym typeface="Roboto" pitchFamily="2" charset="0"/>
              </a:rPr>
              <a:t>Возможности для российских</a:t>
            </a:r>
            <a:br>
              <a:rPr lang="ru-RU" sz="3600" b="1" dirty="0">
                <a:latin typeface="+mj-lt"/>
                <a:ea typeface="+mj-ea"/>
                <a:cs typeface="+mj-cs"/>
                <a:sym typeface="Roboto" pitchFamily="2" charset="0"/>
              </a:rPr>
            </a:br>
            <a:r>
              <a:rPr lang="ru-RU" sz="3600" b="1" dirty="0">
                <a:latin typeface="+mj-lt"/>
                <a:ea typeface="+mj-ea"/>
                <a:cs typeface="+mj-cs"/>
                <a:sym typeface="Roboto" pitchFamily="2" charset="0"/>
              </a:rPr>
              <a:t>компаний</a:t>
            </a:r>
          </a:p>
        </p:txBody>
      </p:sp>
    </p:spTree>
    <p:extLst>
      <p:ext uri="{BB962C8B-B14F-4D97-AF65-F5344CB8AC3E}">
        <p14:creationId xmlns:p14="http://schemas.microsoft.com/office/powerpoint/2010/main" val="1712702500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Равнобедренный треугольник 1">
            <a:extLst>
              <a:ext uri="{FF2B5EF4-FFF2-40B4-BE49-F238E27FC236}">
                <a16:creationId xmlns:a16="http://schemas.microsoft.com/office/drawing/2014/main" id="{EF381A8F-4326-4321-A852-EEA3D850DB10}"/>
              </a:ext>
            </a:extLst>
          </p:cNvPr>
          <p:cNvSpPr/>
          <p:nvPr/>
        </p:nvSpPr>
        <p:spPr>
          <a:xfrm>
            <a:off x="5953243" y="4880745"/>
            <a:ext cx="5723377" cy="1644599"/>
          </a:xfrm>
          <a:custGeom>
            <a:avLst/>
            <a:gdLst>
              <a:gd name="connsiteX0" fmla="*/ 0 w 1925899"/>
              <a:gd name="connsiteY0" fmla="*/ 6483927 h 6483927"/>
              <a:gd name="connsiteX1" fmla="*/ 962950 w 1925899"/>
              <a:gd name="connsiteY1" fmla="*/ 0 h 6483927"/>
              <a:gd name="connsiteX2" fmla="*/ 1925899 w 1925899"/>
              <a:gd name="connsiteY2" fmla="*/ 6483927 h 6483927"/>
              <a:gd name="connsiteX3" fmla="*/ 0 w 1925899"/>
              <a:gd name="connsiteY3" fmla="*/ 6483927 h 6483927"/>
              <a:gd name="connsiteX0" fmla="*/ 0 w 1932768"/>
              <a:gd name="connsiteY0" fmla="*/ 6534727 h 6534727"/>
              <a:gd name="connsiteX1" fmla="*/ 1932768 w 1932768"/>
              <a:gd name="connsiteY1" fmla="*/ 0 h 6534727"/>
              <a:gd name="connsiteX2" fmla="*/ 1925899 w 1932768"/>
              <a:gd name="connsiteY2" fmla="*/ 6534727 h 6534727"/>
              <a:gd name="connsiteX3" fmla="*/ 0 w 1932768"/>
              <a:gd name="connsiteY3" fmla="*/ 6534727 h 653472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932768" h="6534727">
                <a:moveTo>
                  <a:pt x="0" y="6534727"/>
                </a:moveTo>
                <a:lnTo>
                  <a:pt x="1932768" y="0"/>
                </a:lnTo>
                <a:cubicBezTo>
                  <a:pt x="1930478" y="2178242"/>
                  <a:pt x="1928189" y="4356485"/>
                  <a:pt x="1925899" y="6534727"/>
                </a:cubicBezTo>
                <a:lnTo>
                  <a:pt x="0" y="6534727"/>
                </a:lnTo>
                <a:close/>
              </a:path>
            </a:pathLst>
          </a:cu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defTabSz="914400" latinLnBrk="0"/>
            <a:r>
              <a:rPr lang="ru-RU" sz="3200" b="1" dirty="0">
                <a:solidFill>
                  <a:schemeClr val="tx1"/>
                </a:solidFill>
                <a:latin typeface="Arial" panose="020B0604020202020204" pitchFamily="34" charset="0"/>
                <a:sym typeface="Roboto" pitchFamily="2" charset="0"/>
              </a:rPr>
              <a:t>Выход на рынки </a:t>
            </a:r>
          </a:p>
          <a:p>
            <a:r>
              <a:rPr lang="ru-RU" sz="4400" dirty="0">
                <a:solidFill>
                  <a:schemeClr val="accent1"/>
                </a:solidFill>
                <a:sym typeface="Roboto" pitchFamily="2" charset="0"/>
              </a:rPr>
              <a:t>Евросоюза и Китая</a:t>
            </a:r>
          </a:p>
          <a:p>
            <a:pPr defTabSz="914400" latinLnBrk="0"/>
            <a:r>
              <a:rPr lang="ru-RU" sz="3200" b="1" dirty="0">
                <a:solidFill>
                  <a:schemeClr val="tx1"/>
                </a:solidFill>
                <a:latin typeface="Arial" panose="020B0604020202020204" pitchFamily="34" charset="0"/>
                <a:sym typeface="Roboto" pitchFamily="2" charset="0"/>
              </a:rPr>
              <a:t>через транзитные сделки</a:t>
            </a:r>
          </a:p>
        </p:txBody>
      </p:sp>
      <p:sp>
        <p:nvSpPr>
          <p:cNvPr id="8" name="TextBox 15">
            <a:extLst>
              <a:ext uri="{FF2B5EF4-FFF2-40B4-BE49-F238E27FC236}">
                <a16:creationId xmlns:a16="http://schemas.microsoft.com/office/drawing/2014/main" id="{0C2C8498-DE27-49A5-8FF7-CF4F1A75E69C}"/>
              </a:ext>
            </a:extLst>
          </p:cNvPr>
          <p:cNvSpPr txBox="1"/>
          <p:nvPr/>
        </p:nvSpPr>
        <p:spPr>
          <a:xfrm>
            <a:off x="12360" y="5049180"/>
            <a:ext cx="5615362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4800" dirty="0">
                <a:solidFill>
                  <a:schemeClr val="accent1"/>
                </a:solidFill>
                <a:sym typeface="Roboto" pitchFamily="2" charset="0"/>
              </a:rPr>
              <a:t>&gt;</a:t>
            </a:r>
            <a:r>
              <a:rPr lang="ru-RU" sz="4800" dirty="0">
                <a:solidFill>
                  <a:schemeClr val="accent1"/>
                </a:solidFill>
                <a:sym typeface="Roboto" pitchFamily="2" charset="0"/>
              </a:rPr>
              <a:t>3 000 </a:t>
            </a:r>
            <a:r>
              <a:rPr lang="ru-RU" sz="3200" b="1" dirty="0">
                <a:latin typeface="Arial" panose="020B0604020202020204" pitchFamily="34" charset="0"/>
                <a:sym typeface="Roboto" pitchFamily="2" charset="0"/>
              </a:rPr>
              <a:t>компаний из ЕС</a:t>
            </a:r>
            <a:endParaRPr lang="ru-RU" sz="2400" b="1" dirty="0">
              <a:latin typeface="Arial" panose="020B0604020202020204" pitchFamily="34" charset="0"/>
              <a:sym typeface="Roboto" pitchFamily="2" charset="0"/>
            </a:endParaRPr>
          </a:p>
        </p:txBody>
      </p:sp>
      <p:cxnSp>
        <p:nvCxnSpPr>
          <p:cNvPr id="11" name="Прямая соединительная линия 10">
            <a:extLst>
              <a:ext uri="{FF2B5EF4-FFF2-40B4-BE49-F238E27FC236}">
                <a16:creationId xmlns:a16="http://schemas.microsoft.com/office/drawing/2014/main" id="{9E916B02-D576-4270-BA62-7D04EED74CB6}"/>
              </a:ext>
            </a:extLst>
          </p:cNvPr>
          <p:cNvCxnSpPr/>
          <p:nvPr/>
        </p:nvCxnSpPr>
        <p:spPr>
          <a:xfrm>
            <a:off x="5879976" y="4880745"/>
            <a:ext cx="0" cy="1754554"/>
          </a:xfrm>
          <a:prstGeom prst="line">
            <a:avLst/>
          </a:prstGeom>
          <a:ln w="44450">
            <a:solidFill>
              <a:srgbClr val="64994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5" name="Группа 4"/>
          <p:cNvGrpSpPr/>
          <p:nvPr/>
        </p:nvGrpSpPr>
        <p:grpSpPr>
          <a:xfrm>
            <a:off x="3899756" y="3075760"/>
            <a:ext cx="3531085" cy="508127"/>
            <a:chOff x="3729612" y="2961162"/>
            <a:chExt cx="3827362" cy="550762"/>
          </a:xfrm>
        </p:grpSpPr>
        <p:cxnSp>
          <p:nvCxnSpPr>
            <p:cNvPr id="9" name="Прямая со стрелкой 8">
              <a:extLst>
                <a:ext uri="{FF2B5EF4-FFF2-40B4-BE49-F238E27FC236}">
                  <a16:creationId xmlns:a16="http://schemas.microsoft.com/office/drawing/2014/main" id="{D59BCDB8-78F3-4B1C-8FF9-42FC7B0CB259}"/>
                </a:ext>
              </a:extLst>
            </p:cNvPr>
            <p:cNvCxnSpPr/>
            <p:nvPr/>
          </p:nvCxnSpPr>
          <p:spPr>
            <a:xfrm>
              <a:off x="3729612" y="2961162"/>
              <a:ext cx="3827362" cy="0"/>
            </a:xfrm>
            <a:prstGeom prst="straightConnector1">
              <a:avLst/>
            </a:prstGeom>
            <a:ln w="101600">
              <a:solidFill>
                <a:srgbClr val="003399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3" name="Прямая со стрелкой 12">
              <a:extLst>
                <a:ext uri="{FF2B5EF4-FFF2-40B4-BE49-F238E27FC236}">
                  <a16:creationId xmlns:a16="http://schemas.microsoft.com/office/drawing/2014/main" id="{DB200440-CB90-48F3-B364-3E630BB5012B}"/>
                </a:ext>
              </a:extLst>
            </p:cNvPr>
            <p:cNvCxnSpPr/>
            <p:nvPr/>
          </p:nvCxnSpPr>
          <p:spPr>
            <a:xfrm>
              <a:off x="3729612" y="3511924"/>
              <a:ext cx="3827362" cy="0"/>
            </a:xfrm>
            <a:prstGeom prst="straightConnector1">
              <a:avLst/>
            </a:prstGeom>
            <a:ln w="101600">
              <a:solidFill>
                <a:srgbClr val="FF2406"/>
              </a:solidFill>
              <a:headEnd type="triangle"/>
              <a:tailEnd type="triangle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3" cstate="print">
            <a:extLst>
              <a:ext uri="{BEBA8EAE-BF5A-486C-A8C5-ECC9F3942E4B}">
                <a14:imgProps xmlns:a14="http://schemas.microsoft.com/office/drawing/2010/main">
                  <a14:imgLayer r:embed="rId4">
                    <a14:imgEffect>
                      <a14:saturation sat="17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445023" y="1074033"/>
            <a:ext cx="1375018" cy="2080759"/>
          </a:xfrm>
          <a:prstGeom prst="rect">
            <a:avLst/>
          </a:prstGeom>
        </p:spPr>
      </p:pic>
      <p:pic>
        <p:nvPicPr>
          <p:cNvPr id="3" name="Рисунок 2"/>
          <p:cNvPicPr>
            <a:picLocks noChangeAspect="1"/>
          </p:cNvPicPr>
          <p:nvPr/>
        </p:nvPicPr>
        <p:blipFill>
          <a:blip r:embed="rId5" cstate="print">
            <a:extLst>
              <a:ext uri="{BEBA8EAE-BF5A-486C-A8C5-ECC9F3942E4B}">
                <a14:imgProps xmlns:a14="http://schemas.microsoft.com/office/drawing/2010/main">
                  <a14:imgLayer r:embed="rId6">
                    <a14:imgEffect>
                      <a14:saturation sat="4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860196" y="1446377"/>
            <a:ext cx="3744416" cy="2785939"/>
          </a:xfrm>
          <a:prstGeom prst="rect">
            <a:avLst/>
          </a:prstGeom>
        </p:spPr>
      </p:pic>
      <p:pic>
        <p:nvPicPr>
          <p:cNvPr id="6" name="Рисунок 5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977582" y="2579554"/>
            <a:ext cx="1665079" cy="1652763"/>
          </a:xfrm>
          <a:prstGeom prst="rect">
            <a:avLst/>
          </a:prstGeom>
        </p:spPr>
      </p:pic>
      <p:pic>
        <p:nvPicPr>
          <p:cNvPr id="39" name="Рисунок 38">
            <a:extLst>
              <a:ext uri="{FF2B5EF4-FFF2-40B4-BE49-F238E27FC236}">
                <a16:creationId xmlns:a16="http://schemas.microsoft.com/office/drawing/2014/main" id="{8B2E9777-43E0-4E4B-83FF-5A19141AA638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BEBA8EAE-BF5A-486C-A8C5-ECC9F3942E4B}">
                <a14:imgProps xmlns:a14="http://schemas.microsoft.com/office/drawing/2010/main">
                  <a14:imgLayer r:embed="rId9">
                    <a14:imgEffect>
                      <a14:saturation sat="76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47428" y="3285879"/>
            <a:ext cx="2043496" cy="1663821"/>
          </a:xfrm>
          <a:prstGeom prst="rect">
            <a:avLst/>
          </a:prstGeom>
        </p:spPr>
      </p:pic>
      <p:sp>
        <p:nvSpPr>
          <p:cNvPr id="41" name="TextBox 15">
            <a:extLst>
              <a:ext uri="{FF2B5EF4-FFF2-40B4-BE49-F238E27FC236}">
                <a16:creationId xmlns:a16="http://schemas.microsoft.com/office/drawing/2014/main" id="{0C2C8498-DE27-49A5-8FF7-CF4F1A75E69C}"/>
              </a:ext>
            </a:extLst>
          </p:cNvPr>
          <p:cNvSpPr txBox="1"/>
          <p:nvPr/>
        </p:nvSpPr>
        <p:spPr>
          <a:xfrm>
            <a:off x="1235460" y="5631550"/>
            <a:ext cx="4998117" cy="830997"/>
          </a:xfrm>
          <a:prstGeom prst="rect">
            <a:avLst/>
          </a:prstGeom>
          <a:noFill/>
          <a:ln>
            <a:noFill/>
          </a:ln>
        </p:spPr>
        <p:txBody>
          <a:bodyPr wrap="square" rtlCol="0">
            <a:spAutoFit/>
          </a:bodyPr>
          <a:lstStyle>
            <a:defPPr>
              <a:defRPr lang="ru-RU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ru-RU" sz="4800" dirty="0">
                <a:solidFill>
                  <a:schemeClr val="accent1"/>
                </a:solidFill>
                <a:sym typeface="Roboto" pitchFamily="2" charset="0"/>
              </a:rPr>
              <a:t>68</a:t>
            </a:r>
            <a:r>
              <a:rPr lang="ru-RU" sz="4000" b="1" dirty="0">
                <a:solidFill>
                  <a:schemeClr val="accent1"/>
                </a:solidFill>
                <a:sym typeface="Roboto" pitchFamily="2" charset="0"/>
              </a:rPr>
              <a:t> </a:t>
            </a:r>
            <a:r>
              <a:rPr lang="ru-RU" sz="3200" b="1" dirty="0">
                <a:latin typeface="Arial" panose="020B0604020202020204" pitchFamily="34" charset="0"/>
                <a:sym typeface="Roboto" pitchFamily="2" charset="0"/>
              </a:rPr>
              <a:t>компаний из КНР</a:t>
            </a:r>
            <a:endParaRPr lang="ru-RU" sz="2400" b="1" dirty="0">
              <a:latin typeface="Arial" panose="020B0604020202020204" pitchFamily="34" charset="0"/>
              <a:sym typeface="Roboto" pitchFamily="2" charset="0"/>
            </a:endParaRPr>
          </a:p>
        </p:txBody>
      </p:sp>
      <p:sp>
        <p:nvSpPr>
          <p:cNvPr id="42" name="TextBox 41">
            <a:extLst>
              <a:ext uri="{FF2B5EF4-FFF2-40B4-BE49-F238E27FC236}">
                <a16:creationId xmlns:a16="http://schemas.microsoft.com/office/drawing/2014/main" id="{AA56BA2B-628A-440E-B140-E5DD4D1C328F}"/>
              </a:ext>
            </a:extLst>
          </p:cNvPr>
          <p:cNvSpPr txBox="1"/>
          <p:nvPr/>
        </p:nvSpPr>
        <p:spPr>
          <a:xfrm>
            <a:off x="3907378" y="151924"/>
            <a:ext cx="7560840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>
              <a:lnSpc>
                <a:spcPct val="90000"/>
              </a:lnSpc>
            </a:pPr>
            <a:r>
              <a:rPr lang="ru-RU" sz="3600" b="1" dirty="0">
                <a:sym typeface="Roboto" pitchFamily="2" charset="0"/>
              </a:rPr>
              <a:t>Возможности для российских</a:t>
            </a:r>
            <a:br>
              <a:rPr lang="ru-RU" sz="3600" b="1" dirty="0">
                <a:sym typeface="Roboto" pitchFamily="2" charset="0"/>
              </a:rPr>
            </a:br>
            <a:r>
              <a:rPr lang="ru-RU" sz="3600" b="1" dirty="0">
                <a:sym typeface="Roboto" pitchFamily="2" charset="0"/>
              </a:rPr>
              <a:t>компаний</a:t>
            </a:r>
          </a:p>
        </p:txBody>
      </p:sp>
    </p:spTree>
    <p:extLst>
      <p:ext uri="{BB962C8B-B14F-4D97-AF65-F5344CB8AC3E}">
        <p14:creationId xmlns:p14="http://schemas.microsoft.com/office/powerpoint/2010/main" val="3942454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7">
            <a:extLst>
              <a:ext uri="{FF2B5EF4-FFF2-40B4-BE49-F238E27FC236}">
                <a16:creationId xmlns:a16="http://schemas.microsoft.com/office/drawing/2014/main" id="{C62ABD80-4BAC-4AA0-972A-30C0B627D475}"/>
              </a:ext>
            </a:extLst>
          </p:cNvPr>
          <p:cNvSpPr/>
          <p:nvPr/>
        </p:nvSpPr>
        <p:spPr>
          <a:xfrm>
            <a:off x="947428" y="4906712"/>
            <a:ext cx="648072" cy="571285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rgbClr val="546F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graphicFrame>
        <p:nvGraphicFramePr>
          <p:cNvPr id="11" name="Таблица 11">
            <a:extLst>
              <a:ext uri="{FF2B5EF4-FFF2-40B4-BE49-F238E27FC236}">
                <a16:creationId xmlns:a16="http://schemas.microsoft.com/office/drawing/2014/main" id="{C94240B9-193D-4628-BF35-8896035BCF1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433176556"/>
              </p:ext>
            </p:extLst>
          </p:nvPr>
        </p:nvGraphicFramePr>
        <p:xfrm>
          <a:off x="3353632" y="152636"/>
          <a:ext cx="8691822" cy="6735927"/>
        </p:xfrm>
        <a:graphic>
          <a:graphicData uri="http://schemas.openxmlformats.org/drawingml/2006/table">
            <a:tbl>
              <a:tblPr firstRow="1" bandRow="1">
                <a:tableStyleId>{D27102A9-8310-4765-A935-A1911B00CA55}</a:tableStyleId>
              </a:tblPr>
              <a:tblGrid>
                <a:gridCol w="2232248">
                  <a:extLst>
                    <a:ext uri="{9D8B030D-6E8A-4147-A177-3AD203B41FA5}">
                      <a16:colId xmlns:a16="http://schemas.microsoft.com/office/drawing/2014/main" val="149050019"/>
                    </a:ext>
                  </a:extLst>
                </a:gridCol>
                <a:gridCol w="1188132">
                  <a:extLst>
                    <a:ext uri="{9D8B030D-6E8A-4147-A177-3AD203B41FA5}">
                      <a16:colId xmlns:a16="http://schemas.microsoft.com/office/drawing/2014/main" val="3604907783"/>
                    </a:ext>
                  </a:extLst>
                </a:gridCol>
                <a:gridCol w="1188132">
                  <a:extLst>
                    <a:ext uri="{9D8B030D-6E8A-4147-A177-3AD203B41FA5}">
                      <a16:colId xmlns:a16="http://schemas.microsoft.com/office/drawing/2014/main" val="142715712"/>
                    </a:ext>
                  </a:extLst>
                </a:gridCol>
                <a:gridCol w="150080">
                  <a:extLst>
                    <a:ext uri="{9D8B030D-6E8A-4147-A177-3AD203B41FA5}">
                      <a16:colId xmlns:a16="http://schemas.microsoft.com/office/drawing/2014/main" val="2844685998"/>
                    </a:ext>
                  </a:extLst>
                </a:gridCol>
                <a:gridCol w="1332148">
                  <a:extLst>
                    <a:ext uri="{9D8B030D-6E8A-4147-A177-3AD203B41FA5}">
                      <a16:colId xmlns:a16="http://schemas.microsoft.com/office/drawing/2014/main" val="3552036464"/>
                    </a:ext>
                  </a:extLst>
                </a:gridCol>
                <a:gridCol w="2601082">
                  <a:extLst>
                    <a:ext uri="{9D8B030D-6E8A-4147-A177-3AD203B41FA5}">
                      <a16:colId xmlns:a16="http://schemas.microsoft.com/office/drawing/2014/main" val="565291579"/>
                    </a:ext>
                  </a:extLst>
                </a:gridCol>
              </a:tblGrid>
              <a:tr h="718074">
                <a:tc rowSpan="2">
                  <a:txBody>
                    <a:bodyPr/>
                    <a:lstStyle/>
                    <a:p>
                      <a:pPr algn="ctr"/>
                      <a:r>
                        <a:rPr kumimoji="0" lang="ru-RU" sz="2400" b="0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Arial"/>
                          <a:ea typeface="Arial Unicode MS"/>
                          <a:cs typeface="+mn-cs"/>
                        </a:rPr>
                        <a:t>Области РФ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rgbClr val="649941"/>
                          </a:solidFill>
                        </a:rPr>
                        <a:t>Экспорт</a:t>
                      </a:r>
                      <a:endParaRPr lang="ru-RU" sz="1600" dirty="0">
                        <a:solidFill>
                          <a:srgbClr val="64994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rgbClr val="649941"/>
                          </a:solidFill>
                        </a:rPr>
                        <a:t>Импорт</a:t>
                      </a:r>
                      <a:endParaRPr lang="ru-RU" sz="1600" dirty="0">
                        <a:solidFill>
                          <a:srgbClr val="64994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rgbClr val="649941"/>
                          </a:solidFill>
                        </a:rPr>
                        <a:t>Всего</a:t>
                      </a:r>
                      <a:endParaRPr lang="ru-RU" dirty="0"/>
                    </a:p>
                  </a:txBody>
                  <a:tcPr anchor="ctr">
                    <a:lnL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rowSpan="2">
                  <a:txBody>
                    <a:bodyPr/>
                    <a:lstStyle/>
                    <a:p>
                      <a:pPr algn="ctr"/>
                      <a:r>
                        <a:rPr lang="ru-RU" sz="1800" dirty="0">
                          <a:solidFill>
                            <a:srgbClr val="649941"/>
                          </a:solidFill>
                        </a:rPr>
                        <a:t>Товарные</a:t>
                      </a:r>
                    </a:p>
                    <a:p>
                      <a:pPr algn="ctr"/>
                      <a:r>
                        <a:rPr lang="ru-RU" sz="1800" dirty="0">
                          <a:solidFill>
                            <a:srgbClr val="649941"/>
                          </a:solidFill>
                        </a:rPr>
                        <a:t>позиции</a:t>
                      </a:r>
                    </a:p>
                  </a:txBody>
                  <a:tcPr anchor="ctr">
                    <a:lnL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935712190"/>
                  </a:ext>
                </a:extLst>
              </a:tr>
              <a:tr h="344693">
                <a:tc vMerge="1">
                  <a:txBody>
                    <a:bodyPr/>
                    <a:lstStyle/>
                    <a:p>
                      <a:pPr algn="ctr"/>
                      <a:endParaRPr kumimoji="0" lang="ru-RU" sz="2400" b="0" i="0" u="none" strike="noStrike" kern="1200" cap="none" spc="0" normalizeH="0" baseline="0" dirty="0">
                        <a:ln>
                          <a:noFill/>
                        </a:ln>
                        <a:solidFill>
                          <a:schemeClr val="bg1">
                            <a:lumMod val="65000"/>
                          </a:schemeClr>
                        </a:solidFill>
                        <a:effectLst/>
                        <a:uLnTx/>
                        <a:uFillTx/>
                        <a:latin typeface="Arial"/>
                        <a:ea typeface="Arial Unicode MS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4">
                  <a:txBody>
                    <a:bodyPr/>
                    <a:lstStyle/>
                    <a:p>
                      <a:pPr marL="0" marR="0" lvl="0" indent="0" algn="ctr" defTabSz="8295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en-US" sz="1600" b="0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chemeClr val="bg1">
                              <a:lumMod val="65000"/>
                            </a:schemeClr>
                          </a:solidFill>
                          <a:effectLst/>
                          <a:uLnTx/>
                          <a:uFillTx/>
                          <a:latin typeface="+mn-lt"/>
                          <a:ea typeface="+mn-ea"/>
                          <a:cs typeface="+mn-cs"/>
                        </a:rPr>
                        <a:t>USD</a:t>
                      </a:r>
                      <a:endParaRPr lang="ru-RU" sz="1600" dirty="0">
                        <a:solidFill>
                          <a:srgbClr val="64994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>
                    <a:lnL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vMerge="1">
                  <a:txBody>
                    <a:bodyPr/>
                    <a:lstStyle/>
                    <a:p>
                      <a:pPr marL="0" marR="0" lvl="0" indent="0" algn="ctr" defTabSz="829544" rtl="0" eaLnBrk="1" fontAlgn="auto" latinLnBrk="1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2000" dirty="0">
                        <a:solidFill>
                          <a:srgbClr val="649941"/>
                        </a:solidFill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>
                        <a:alpha val="2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8675729"/>
                  </a:ext>
                </a:extLst>
              </a:tr>
              <a:tr h="1166960">
                <a:tc>
                  <a:txBody>
                    <a:bodyPr/>
                    <a:lstStyle/>
                    <a:p>
                      <a:pPr marL="72000" algn="l">
                        <a:defRPr sz="25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ru-RU" sz="20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Воронежска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75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348 518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8  50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b="0" kern="1200" dirty="0">
                        <a:solidFill>
                          <a:srgbClr val="6499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371 232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Пиломатериалы,  </a:t>
                      </a:r>
                      <a:br>
                        <a:rPr lang="ru-RU" sz="1600" b="1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600" b="1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щебень,</a:t>
                      </a:r>
                    </a:p>
                    <a:p>
                      <a:pPr algn="ctr"/>
                      <a:r>
                        <a:rPr lang="ru-RU" sz="1600" b="1" kern="1200" spc="-50" baseline="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сливочное масло, </a:t>
                      </a:r>
                      <a:br>
                        <a:rPr lang="ru-RU" sz="1600" b="1" kern="1200" spc="-50" baseline="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600" b="1" kern="1200" spc="-50" baseline="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сухое молоко </a:t>
                      </a:r>
                    </a:p>
                    <a:p>
                      <a:pPr algn="ctr"/>
                      <a:r>
                        <a:rPr lang="ru-RU" sz="1600" b="1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(экспорт)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rgbClr val="64994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214262433"/>
                  </a:ext>
                </a:extLst>
              </a:tr>
              <a:tr h="1166960">
                <a:tc>
                  <a:txBody>
                    <a:bodyPr/>
                    <a:lstStyle/>
                    <a:p>
                      <a:pPr marL="72000" algn="l">
                        <a:defRPr sz="25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ru-RU" sz="20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ижегородска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75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110 9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b="0" kern="1200" dirty="0">
                        <a:solidFill>
                          <a:srgbClr val="6499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110 91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Черные металлы </a:t>
                      </a:r>
                      <a:br>
                        <a:rPr lang="ru-RU" sz="16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6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(импорт)</a:t>
                      </a:r>
                    </a:p>
                    <a:p>
                      <a:pPr algn="ctr"/>
                      <a:r>
                        <a:rPr lang="ru-RU" sz="1600" b="1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Кожсырье (экспорт)</a:t>
                      </a:r>
                    </a:p>
                  </a:txBody>
                  <a:tcPr marL="0" marR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115679457"/>
                  </a:ext>
                </a:extLst>
              </a:tr>
              <a:tr h="1014300">
                <a:tc>
                  <a:txBody>
                    <a:bodyPr/>
                    <a:lstStyle/>
                    <a:p>
                      <a:pPr marL="72000" algn="l">
                        <a:defRPr sz="25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ru-RU" sz="20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Самарска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755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125 14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b="0" kern="1200" spc="-30" baseline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2 305 653</a:t>
                      </a:r>
                      <a:endParaRPr lang="ru-RU" sz="2000" b="0" kern="1200" dirty="0">
                        <a:solidFill>
                          <a:srgbClr val="6499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b="0" kern="1200" dirty="0">
                        <a:solidFill>
                          <a:srgbClr val="6499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2 430 799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Черные металлы </a:t>
                      </a:r>
                      <a:br>
                        <a:rPr lang="ru-RU" sz="16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</a:br>
                      <a:r>
                        <a:rPr lang="ru-RU" sz="1600" b="1" kern="1200" dirty="0">
                          <a:solidFill>
                            <a:srgbClr val="0070C0"/>
                          </a:solidFill>
                          <a:latin typeface="+mn-lt"/>
                          <a:ea typeface="+mn-ea"/>
                          <a:cs typeface="+mn-cs"/>
                        </a:rPr>
                        <a:t>(импорт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41238274"/>
                  </a:ext>
                </a:extLst>
              </a:tr>
              <a:tr h="1014300">
                <a:tc>
                  <a:txBody>
                    <a:bodyPr/>
                    <a:lstStyle/>
                    <a:p>
                      <a:pPr marL="72000" algn="l">
                        <a:defRPr sz="25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ru-RU" sz="20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Рязанска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7DB755"/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147 553</a:t>
                      </a:r>
                    </a:p>
                  </a:txBody>
                  <a:tcPr marL="6350" marR="6350" marT="6350" marB="0"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 fontAlgn="ctr"/>
                      <a:r>
                        <a:rPr lang="ru-RU" sz="2000" b="0" kern="1200" spc="-30" baseline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1 502 623</a:t>
                      </a:r>
                      <a:endParaRPr lang="ru-RU" sz="2000" b="0" kern="1200" dirty="0">
                        <a:solidFill>
                          <a:srgbClr val="6499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 fontAlgn="ctr"/>
                      <a:endParaRPr lang="ru-RU" sz="2000" b="0" kern="1200" dirty="0">
                        <a:solidFill>
                          <a:srgbClr val="6499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 fontAlgn="ctr"/>
                      <a:r>
                        <a:rPr lang="ru-RU" sz="2000" b="0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1 650 176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600" b="1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Кожсырье (экспорт)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81873945"/>
                  </a:ext>
                </a:extLst>
              </a:tr>
              <a:tr h="1166960">
                <a:tc>
                  <a:txBody>
                    <a:bodyPr/>
                    <a:lstStyle/>
                    <a:p>
                      <a:pPr marL="72000" algn="l">
                        <a:defRPr sz="2500" b="0" i="0" u="none" strike="noStrike" kern="1200" baseline="0">
                          <a:solidFill>
                            <a:schemeClr val="tx1">
                              <a:lumMod val="65000"/>
                              <a:lumOff val="35000"/>
                            </a:schemeClr>
                          </a:solidFill>
                          <a:latin typeface="+mn-lt"/>
                          <a:ea typeface="+mn-ea"/>
                          <a:cs typeface="+mn-cs"/>
                        </a:defRPr>
                      </a:pPr>
                      <a:r>
                        <a:rPr lang="ru-RU" sz="2000" b="1" i="0" u="none" strike="noStrike" kern="1200" baseline="0" dirty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ензенская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rgbClr val="649941"/>
                    </a:solidFill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gridSpan="2">
                  <a:txBody>
                    <a:bodyPr/>
                    <a:lstStyle/>
                    <a:p>
                      <a:pPr algn="ctr"/>
                      <a:r>
                        <a:rPr lang="ru-RU" sz="2000" b="1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 hMerge="1">
                  <a:txBody>
                    <a:bodyPr/>
                    <a:lstStyle/>
                    <a:p>
                      <a:pPr algn="ctr"/>
                      <a:endParaRPr lang="ru-RU" sz="2000" b="1" kern="1200" dirty="0">
                        <a:solidFill>
                          <a:srgbClr val="6499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2000" b="1" kern="1200" dirty="0">
                          <a:solidFill>
                            <a:srgbClr val="649941"/>
                          </a:solidFill>
                          <a:latin typeface="+mn-lt"/>
                          <a:ea typeface="+mn-ea"/>
                          <a:cs typeface="+mn-cs"/>
                        </a:rPr>
                        <a:t>0</a:t>
                      </a: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algn="ctr"/>
                      <a:endParaRPr lang="ru-RU" sz="900" b="1" kern="1200" dirty="0">
                        <a:solidFill>
                          <a:srgbClr val="64994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anchor="ctr">
                    <a:lnL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2">
                          <a:lumMod val="40000"/>
                          <a:lumOff val="60000"/>
                        </a:schemeClr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273007347"/>
                  </a:ext>
                </a:extLst>
              </a:tr>
            </a:tbl>
          </a:graphicData>
        </a:graphic>
      </p:graphicFrame>
      <p:sp>
        <p:nvSpPr>
          <p:cNvPr id="27" name="Заголовок 1">
            <a:extLst>
              <a:ext uri="{FF2B5EF4-FFF2-40B4-BE49-F238E27FC236}">
                <a16:creationId xmlns:a16="http://schemas.microsoft.com/office/drawing/2014/main" id="{3F11EA80-B1B9-4DB0-B4A3-34DA418EAC3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155340" y="2186162"/>
            <a:ext cx="4202720" cy="1325563"/>
          </a:xfrm>
        </p:spPr>
        <p:txBody>
          <a:bodyPr>
            <a:noAutofit/>
          </a:bodyPr>
          <a:lstStyle/>
          <a:p>
            <a:pPr algn="l"/>
            <a:r>
              <a:rPr lang="ru-RU" sz="3600" b="1" dirty="0">
                <a:sym typeface="Roboto" pitchFamily="2" charset="0"/>
              </a:rPr>
              <a:t>Статистика </a:t>
            </a:r>
            <a:br>
              <a:rPr lang="ru-RU" sz="3600" b="1" dirty="0">
                <a:sym typeface="Roboto" pitchFamily="2" charset="0"/>
              </a:rPr>
            </a:br>
            <a:r>
              <a:rPr lang="ru-RU" sz="3600" b="1" dirty="0">
                <a:sym typeface="Roboto" pitchFamily="2" charset="0"/>
              </a:rPr>
              <a:t>регионов РФ</a:t>
            </a:r>
          </a:p>
        </p:txBody>
      </p:sp>
    </p:spTree>
    <p:extLst>
      <p:ext uri="{BB962C8B-B14F-4D97-AF65-F5344CB8AC3E}">
        <p14:creationId xmlns:p14="http://schemas.microsoft.com/office/powerpoint/2010/main" val="866599809"/>
      </p:ext>
    </p:extLst>
  </p:cSld>
  <p:clrMapOvr>
    <a:masterClrMapping/>
  </p:clrMapOvr>
</p:sld>
</file>

<file path=ppt/slides/slide1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8" name="TextBox 27">
            <a:extLst>
              <a:ext uri="{FF2B5EF4-FFF2-40B4-BE49-F238E27FC236}">
                <a16:creationId xmlns:a16="http://schemas.microsoft.com/office/drawing/2014/main" id="{AA56BA2B-628A-440E-B140-E5DD4D1C328F}"/>
              </a:ext>
            </a:extLst>
          </p:cNvPr>
          <p:cNvSpPr txBox="1"/>
          <p:nvPr/>
        </p:nvSpPr>
        <p:spPr>
          <a:xfrm>
            <a:off x="3822032" y="187790"/>
            <a:ext cx="7668126" cy="461665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r>
              <a:rPr b="1" dirty="0" lang="ru-RU" sz="2400">
                <a:solidFill>
                  <a:schemeClr val="bg1"/>
                </a:solidFill>
                <a:latin charset="0" panose="020B0604020202020204" pitchFamily="34" typeface="Arial"/>
                <a:ea charset="0" pitchFamily="2" typeface="Roboto"/>
                <a:cs charset="0" typeface="Montserrat Bold"/>
                <a:sym charset="0" pitchFamily="2" typeface="Roboto"/>
              </a:rPr>
              <a:t>Что БУТБ предлагает</a:t>
            </a:r>
            <a:r>
              <a:rPr b="1" dirty="0" lang="en-US" sz="2400">
                <a:solidFill>
                  <a:schemeClr val="bg1"/>
                </a:solidFill>
                <a:latin charset="0" panose="020B0604020202020204" pitchFamily="34" typeface="Arial"/>
                <a:ea charset="0" pitchFamily="2" typeface="Roboto"/>
                <a:cs charset="0" typeface="Montserrat Bold"/>
                <a:sym charset="0" pitchFamily="2" typeface="Roboto"/>
              </a:rPr>
              <a:t> </a:t>
            </a:r>
            <a:r>
              <a:rPr b="1" dirty="0" lang="ru-RU" sz="2400">
                <a:solidFill>
                  <a:schemeClr val="bg1"/>
                </a:solidFill>
                <a:latin charset="0" panose="020B0604020202020204" pitchFamily="34" typeface="Arial"/>
                <a:ea charset="0" pitchFamily="2" typeface="Roboto"/>
                <a:cs charset="0" typeface="Montserrat Bold"/>
                <a:sym charset="0" pitchFamily="2" typeface="Roboto"/>
              </a:rPr>
              <a:t>российским компаниям</a:t>
            </a:r>
            <a:endParaRPr b="1" dirty="0" lang="ru-RU" sz="2400">
              <a:solidFill>
                <a:schemeClr val="bg1"/>
              </a:solidFill>
              <a:latin charset="0" panose="020B0604020202020204" pitchFamily="34" typeface="Arial"/>
              <a:sym charset="0" pitchFamily="2" typeface="Roboto"/>
            </a:endParaRPr>
          </a:p>
        </p:txBody>
      </p:sp>
      <p:sp>
        <p:nvSpPr>
          <p:cNvPr id="55" name="Text Box 11">
            <a:extLst>
              <a:ext uri="{FF2B5EF4-FFF2-40B4-BE49-F238E27FC236}">
                <a16:creationId xmlns:a16="http://schemas.microsoft.com/office/drawing/2014/main" id="{4750755D-F078-43D2-B08B-A03050BEB27E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4451" y="1580023"/>
            <a:ext cx="8892988" cy="335476"/>
          </a:xfrm>
          <a:prstGeom prst="rect">
            <a:avLst/>
          </a:prstGeom>
          <a:noFill/>
          <a:ln algn="ctr"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>
              <a:lnSpc>
                <a:spcPts val="1800"/>
              </a:lnSpc>
            </a:pPr>
            <a:r>
              <a:rPr dirty="0" lang="ru-RU" sz="2200">
                <a:latin typeface="+mj-lt"/>
                <a:sym charset="0" pitchFamily="2" typeface="Roboto"/>
              </a:rPr>
              <a:t>Онлайн-участие в торгах</a:t>
            </a:r>
          </a:p>
        </p:txBody>
      </p:sp>
      <p:sp>
        <p:nvSpPr>
          <p:cNvPr id="56" name="Text Box 11">
            <a:extLst>
              <a:ext uri="{FF2B5EF4-FFF2-40B4-BE49-F238E27FC236}">
                <a16:creationId xmlns:a16="http://schemas.microsoft.com/office/drawing/2014/main" id="{E4E72024-4D3D-4220-886E-F1B4D2DFC444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74451" y="2468427"/>
            <a:ext cx="8691501" cy="430887"/>
          </a:xfrm>
          <a:prstGeom prst="rect">
            <a:avLst/>
          </a:prstGeom>
          <a:noFill/>
          <a:ln algn="ctr"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dirty="0" lang="ru-RU" sz="2200">
                <a:latin typeface="+mj-lt"/>
                <a:sym charset="0" pitchFamily="2" typeface="Roboto"/>
              </a:rPr>
              <a:t>Упрощенная и бесплатная аккредитация</a:t>
            </a:r>
            <a:endParaRPr dirty="0" lang="en-US" sz="2200">
              <a:latin typeface="+mj-lt"/>
              <a:sym charset="0" pitchFamily="2" typeface="Roboto"/>
            </a:endParaRPr>
          </a:p>
        </p:txBody>
      </p:sp>
      <p:sp>
        <p:nvSpPr>
          <p:cNvPr id="59" name="Text Box 11">
            <a:extLst>
              <a:ext uri="{FF2B5EF4-FFF2-40B4-BE49-F238E27FC236}">
                <a16:creationId xmlns:a16="http://schemas.microsoft.com/office/drawing/2014/main" id="{25BC2923-CF1E-4887-8DFA-6CA68F8CD049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552555" y="4113076"/>
            <a:ext cx="9268733" cy="701731"/>
          </a:xfrm>
          <a:prstGeom prst="rect">
            <a:avLst/>
          </a:prstGeom>
          <a:noFill/>
          <a:ln algn="ctr"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>
              <a:lnSpc>
                <a:spcPct val="90000"/>
              </a:lnSpc>
            </a:pPr>
            <a:r>
              <a:rPr dirty="0" lang="en-US" sz="2200">
                <a:latin typeface="+mj-lt"/>
              </a:rPr>
              <a:t>    </a:t>
            </a:r>
            <a:r>
              <a:rPr dirty="0" lang="ru-RU" sz="2200">
                <a:latin typeface="+mj-lt"/>
              </a:rPr>
              <a:t>Расширение рынков сбыта и продвижение продукции </a:t>
            </a:r>
            <a:br>
              <a:rPr dirty="0" lang="ru-RU" sz="2200">
                <a:latin typeface="+mj-lt"/>
              </a:rPr>
            </a:br>
            <a:r>
              <a:rPr dirty="0" lang="ru-RU" sz="2200">
                <a:latin typeface="+mj-lt"/>
              </a:rPr>
              <a:t>    за счет разветвленной сети брокеров</a:t>
            </a:r>
          </a:p>
        </p:txBody>
      </p:sp>
      <p:sp>
        <p:nvSpPr>
          <p:cNvPr id="61" name="Text Box 11">
            <a:extLst>
              <a:ext uri="{FF2B5EF4-FFF2-40B4-BE49-F238E27FC236}">
                <a16:creationId xmlns:a16="http://schemas.microsoft.com/office/drawing/2014/main" id="{E3D5E350-3322-4188-B868-B078A192EB36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884050" y="3334232"/>
            <a:ext cx="9268734" cy="769441"/>
          </a:xfrm>
          <a:prstGeom prst="rect">
            <a:avLst/>
          </a:prstGeom>
          <a:noFill/>
          <a:ln algn="ctr"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dirty="0" lang="ru-RU" sz="2200">
                <a:latin typeface="+mj-lt"/>
                <a:sym charset="0" pitchFamily="2" typeface="Roboto"/>
              </a:rPr>
              <a:t>Широкая клиентская база покупателей </a:t>
            </a:r>
            <a:br>
              <a:rPr dirty="0" lang="ru-RU" sz="2200">
                <a:latin typeface="+mj-lt"/>
                <a:sym charset="0" pitchFamily="2" typeface="Roboto"/>
              </a:rPr>
            </a:br>
            <a:endParaRPr dirty="0" lang="ru-RU" sz="2200">
              <a:latin typeface="+mj-lt"/>
              <a:sym charset="0" pitchFamily="2" typeface="Roboto"/>
            </a:endParaRPr>
          </a:p>
        </p:txBody>
      </p:sp>
      <p:sp>
        <p:nvSpPr>
          <p:cNvPr id="12" name="Text Box 11">
            <a:extLst>
              <a:ext uri="{FF2B5EF4-FFF2-40B4-BE49-F238E27FC236}">
                <a16:creationId xmlns:a16="http://schemas.microsoft.com/office/drawing/2014/main" id="{0E1C72BB-C956-4BA5-AFA3-BCE7222021F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22547" y="5206409"/>
            <a:ext cx="6741258" cy="430887"/>
          </a:xfrm>
          <a:prstGeom prst="rect">
            <a:avLst/>
          </a:prstGeom>
          <a:noFill/>
          <a:ln algn="ctr"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r>
              <a:rPr dirty="0" lang="ru-RU" sz="2200">
                <a:latin typeface="+mj-lt"/>
              </a:rPr>
              <a:t>Возможность расчетов через счета биржи</a:t>
            </a:r>
          </a:p>
        </p:txBody>
      </p:sp>
      <p:sp>
        <p:nvSpPr>
          <p:cNvPr id="13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22547" y="6119728"/>
            <a:ext cx="7245314" cy="430887"/>
          </a:xfrm>
          <a:prstGeom prst="rect">
            <a:avLst/>
          </a:prstGeom>
          <a:noFill/>
          <a:ln algn="ctr"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dirty="0" lang="ru-RU" sz="2200">
                <a:latin typeface="+mj-lt"/>
              </a:rPr>
              <a:t>Безопасность и контроль исполнения контрактов</a:t>
            </a:r>
          </a:p>
        </p:txBody>
      </p:sp>
      <p:pic>
        <p:nvPicPr>
          <p:cNvPr id="25" name="Рисунок 24">
            <a:extLst>
              <a:ext uri="{FF2B5EF4-FFF2-40B4-BE49-F238E27FC236}">
                <a16:creationId xmlns:a16="http://schemas.microsoft.com/office/drawing/2014/main" id="{98B99A46-F25D-4B09-84D1-790C1B83B729}"/>
              </a:ext>
            </a:extLst>
          </p:cNvPr>
          <p:cNvPicPr>
            <a:picLocks noChangeAspect="1" noGrp="1"/>
          </p:cNvPicPr>
          <p:nvPr>
            <p:ph idx="1" type="pic"/>
          </p:nvPr>
        </p:nvPicPr>
        <p:blipFill>
          <a:blip cstate="print" r:embed="rId3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31"/>
          <a:stretch>
            <a:fillRect/>
          </a:stretch>
        </p:blipFill>
        <p:spPr>
          <a:xfrm>
            <a:off x="925513" y="4095750"/>
            <a:ext cx="1727200" cy="760413"/>
          </a:xfrm>
        </p:spPr>
      </p:pic>
      <p:pic>
        <p:nvPicPr>
          <p:cNvPr id="36" name="Рисунок 35">
            <a:extLst>
              <a:ext uri="{FF2B5EF4-FFF2-40B4-BE49-F238E27FC236}">
                <a16:creationId xmlns:a16="http://schemas.microsoft.com/office/drawing/2014/main" id="{A68D75AC-4174-4167-92DC-F7423787CE32}"/>
              </a:ext>
            </a:extLst>
          </p:cNvPr>
          <p:cNvPicPr>
            <a:picLocks noChangeAspect="1" noGrp="1"/>
          </p:cNvPicPr>
          <p:nvPr>
            <p:ph idx="13" type="pic"/>
          </p:nvPr>
        </p:nvPicPr>
        <p:blipFill>
          <a:blip r:embed="rId4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34"/>
          <a:stretch>
            <a:fillRect/>
          </a:stretch>
        </p:blipFill>
        <p:spPr/>
      </p:pic>
      <p:pic>
        <p:nvPicPr>
          <p:cNvPr id="22" name="Рисунок 21">
            <a:extLst>
              <a:ext uri="{FF2B5EF4-FFF2-40B4-BE49-F238E27FC236}">
                <a16:creationId xmlns:a16="http://schemas.microsoft.com/office/drawing/2014/main" id="{A9791FD8-FCD6-4B31-8CF5-10274461D6D0}"/>
              </a:ext>
            </a:extLst>
          </p:cNvPr>
          <p:cNvPicPr>
            <a:picLocks noChangeAspect="1" noGrp="1"/>
          </p:cNvPicPr>
          <p:nvPr>
            <p:ph idx="14" type="pic"/>
          </p:nvPr>
        </p:nvPicPr>
        <p:blipFill>
          <a:blip cstate="print" r:embed="rId5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49"/>
          <a:stretch>
            <a:fillRect/>
          </a:stretch>
        </p:blipFill>
        <p:spPr/>
      </p:pic>
      <p:pic>
        <p:nvPicPr>
          <p:cNvPr id="20" name="Рисунок 19">
            <a:extLst>
              <a:ext uri="{FF2B5EF4-FFF2-40B4-BE49-F238E27FC236}">
                <a16:creationId xmlns:a16="http://schemas.microsoft.com/office/drawing/2014/main" id="{BF972914-F77A-4BFB-A2EF-3639E38CEFDE}"/>
              </a:ext>
            </a:extLst>
          </p:cNvPr>
          <p:cNvPicPr>
            <a:picLocks noChangeAspect="1" noGrp="1"/>
          </p:cNvPicPr>
          <p:nvPr>
            <p:ph idx="15" type="pic"/>
          </p:nvPr>
        </p:nvPicPr>
        <p:blipFill>
          <a:blip cstate="print" r:embed="rId6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49"/>
          <a:stretch>
            <a:fillRect/>
          </a:stretch>
        </p:blipFill>
        <p:spPr/>
      </p:pic>
      <p:pic>
        <p:nvPicPr>
          <p:cNvPr id="18" name="Рисунок 17">
            <a:extLst>
              <a:ext uri="{FF2B5EF4-FFF2-40B4-BE49-F238E27FC236}">
                <a16:creationId xmlns:a16="http://schemas.microsoft.com/office/drawing/2014/main" id="{9571BC1A-0615-4A88-9B94-8AA55AC897D8}"/>
              </a:ext>
            </a:extLst>
          </p:cNvPr>
          <p:cNvPicPr>
            <a:picLocks noChangeAspect="1" noGrp="1"/>
          </p:cNvPicPr>
          <p:nvPr>
            <p:ph idx="16" type="pic"/>
          </p:nvPr>
        </p:nvPicPr>
        <p:blipFill>
          <a:blip r:embed="rId7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75"/>
          <a:stretch>
            <a:fillRect/>
          </a:stretch>
        </p:blipFill>
        <p:spPr/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CAC08C08-B004-4846-B04C-4BC1F1145B27}"/>
              </a:ext>
            </a:extLst>
          </p:cNvPr>
          <p:cNvSpPr txBox="1"/>
          <p:nvPr/>
        </p:nvSpPr>
        <p:spPr>
          <a:xfrm>
            <a:off x="3443028" y="329987"/>
            <a:ext cx="8748972" cy="584775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r>
              <a:rPr b="1" dirty="0" lang="ru-RU" sz="3200">
                <a:latin typeface="+mj-lt"/>
                <a:ea typeface="+mj-ea"/>
                <a:cs typeface="+mj-cs"/>
                <a:sym charset="0" pitchFamily="2" typeface="Roboto"/>
              </a:rPr>
              <a:t>Преимущества биржевой площадки</a:t>
            </a:r>
          </a:p>
        </p:txBody>
      </p:sp>
      <p:pic>
        <p:nvPicPr>
          <p:cNvPr id="40" name="Рисунок 39">
            <a:extLst>
              <a:ext uri="{FF2B5EF4-FFF2-40B4-BE49-F238E27FC236}">
                <a16:creationId xmlns:a16="http://schemas.microsoft.com/office/drawing/2014/main" id="{1FA2C0EE-08AE-4FD4-84B0-54124D3028B0}"/>
              </a:ext>
            </a:extLst>
          </p:cNvPr>
          <p:cNvPicPr>
            <a:picLocks noChangeAspect="1" noGrp="1"/>
          </p:cNvPicPr>
          <p:nvPr>
            <p:ph idx="12" type="pic"/>
          </p:nvPr>
        </p:nvPicPr>
        <p:blipFill>
          <a:blip cstate="print" r:embed="rId8">
            <a:duotone>
              <a:schemeClr val="accent1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8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92697554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advClick="0" p14:dur="10"/>
    </mc:Choice>
    <mc:Fallback xmlns="">
      <p:transition advClick="0"/>
    </mc:Fallback>
  </mc:AlternateContent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TextBox 41">
            <a:extLst>
              <a:ext uri="{FF2B5EF4-FFF2-40B4-BE49-F238E27FC236}">
                <a16:creationId xmlns:a16="http://schemas.microsoft.com/office/drawing/2014/main" id="{AA56BA2B-628A-440E-B140-E5DD4D1C328F}"/>
              </a:ext>
            </a:extLst>
          </p:cNvPr>
          <p:cNvSpPr txBox="1"/>
          <p:nvPr/>
        </p:nvSpPr>
        <p:spPr>
          <a:xfrm>
            <a:off x="4835860" y="416160"/>
            <a:ext cx="438486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3600" b="1" dirty="0">
                <a:latin typeface="+mj-lt"/>
                <a:ea typeface="+mj-ea"/>
                <a:cs typeface="+mj-cs"/>
                <a:sym typeface="Roboto" pitchFamily="2" charset="0"/>
              </a:rPr>
              <a:t>Минимум риска</a:t>
            </a:r>
          </a:p>
        </p:txBody>
      </p:sp>
      <p:sp>
        <p:nvSpPr>
          <p:cNvPr id="15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734728" y="1723857"/>
            <a:ext cx="7056784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2800" b="1" dirty="0">
                <a:latin typeface="Arial" panose="020B0604020202020204" pitchFamily="34" charset="0"/>
              </a:rPr>
              <a:t>Контроль</a:t>
            </a:r>
            <a:r>
              <a:rPr lang="ru-RU" sz="2800" b="1" dirty="0">
                <a:solidFill>
                  <a:srgbClr val="4DAA59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>
                <a:solidFill>
                  <a:srgbClr val="70AD47"/>
                </a:solidFill>
                <a:latin typeface="Arial" panose="020B0604020202020204" pitchFamily="34" charset="0"/>
                <a:cs typeface="Arial" pitchFamily="34" charset="0"/>
              </a:rPr>
              <a:t>исполнения контрактов</a:t>
            </a:r>
          </a:p>
        </p:txBody>
      </p:sp>
      <p:sp>
        <p:nvSpPr>
          <p:cNvPr id="17" name="Rectangle 1"/>
          <p:cNvSpPr/>
          <p:nvPr/>
        </p:nvSpPr>
        <p:spPr>
          <a:xfrm>
            <a:off x="0" y="1556792"/>
            <a:ext cx="4236778" cy="5175306"/>
          </a:xfrm>
          <a:custGeom>
            <a:avLst/>
            <a:gdLst>
              <a:gd name="connsiteX0" fmla="*/ 0 w 2339752"/>
              <a:gd name="connsiteY0" fmla="*/ 0 h 5143500"/>
              <a:gd name="connsiteX1" fmla="*/ 2339752 w 2339752"/>
              <a:gd name="connsiteY1" fmla="*/ 0 h 5143500"/>
              <a:gd name="connsiteX2" fmla="*/ 2339752 w 2339752"/>
              <a:gd name="connsiteY2" fmla="*/ 5143500 h 5143500"/>
              <a:gd name="connsiteX3" fmla="*/ 0 w 2339752"/>
              <a:gd name="connsiteY3" fmla="*/ 5143500 h 5143500"/>
              <a:gd name="connsiteX4" fmla="*/ 0 w 2339752"/>
              <a:gd name="connsiteY4" fmla="*/ 0 h 5143500"/>
              <a:gd name="connsiteX0" fmla="*/ 0 w 4852364"/>
              <a:gd name="connsiteY0" fmla="*/ 0 h 5151451"/>
              <a:gd name="connsiteX1" fmla="*/ 2339752 w 4852364"/>
              <a:gd name="connsiteY1" fmla="*/ 0 h 5151451"/>
              <a:gd name="connsiteX2" fmla="*/ 4852364 w 4852364"/>
              <a:gd name="connsiteY2" fmla="*/ 5151451 h 5151451"/>
              <a:gd name="connsiteX3" fmla="*/ 0 w 4852364"/>
              <a:gd name="connsiteY3" fmla="*/ 5143500 h 5151451"/>
              <a:gd name="connsiteX4" fmla="*/ 0 w 4852364"/>
              <a:gd name="connsiteY4" fmla="*/ 0 h 5151451"/>
              <a:gd name="connsiteX0" fmla="*/ 0 w 4852364"/>
              <a:gd name="connsiteY0" fmla="*/ 0 h 5159402"/>
              <a:gd name="connsiteX1" fmla="*/ 2339752 w 4852364"/>
              <a:gd name="connsiteY1" fmla="*/ 0 h 5159402"/>
              <a:gd name="connsiteX2" fmla="*/ 4852364 w 4852364"/>
              <a:gd name="connsiteY2" fmla="*/ 5151451 h 5159402"/>
              <a:gd name="connsiteX3" fmla="*/ 15903 w 4852364"/>
              <a:gd name="connsiteY3" fmla="*/ 5159402 h 5159402"/>
              <a:gd name="connsiteX4" fmla="*/ 0 w 4852364"/>
              <a:gd name="connsiteY4" fmla="*/ 0 h 5159402"/>
              <a:gd name="connsiteX0" fmla="*/ 15902 w 4868266"/>
              <a:gd name="connsiteY0" fmla="*/ 0 h 5159402"/>
              <a:gd name="connsiteX1" fmla="*/ 2355654 w 4868266"/>
              <a:gd name="connsiteY1" fmla="*/ 0 h 5159402"/>
              <a:gd name="connsiteX2" fmla="*/ 4868266 w 4868266"/>
              <a:gd name="connsiteY2" fmla="*/ 5151451 h 5159402"/>
              <a:gd name="connsiteX3" fmla="*/ 0 w 4868266"/>
              <a:gd name="connsiteY3" fmla="*/ 5159402 h 5159402"/>
              <a:gd name="connsiteX4" fmla="*/ 15902 w 4868266"/>
              <a:gd name="connsiteY4" fmla="*/ 0 h 5159402"/>
              <a:gd name="connsiteX0" fmla="*/ 963 w 4877181"/>
              <a:gd name="connsiteY0" fmla="*/ 0 h 5159402"/>
              <a:gd name="connsiteX1" fmla="*/ 2364569 w 4877181"/>
              <a:gd name="connsiteY1" fmla="*/ 0 h 5159402"/>
              <a:gd name="connsiteX2" fmla="*/ 4877181 w 4877181"/>
              <a:gd name="connsiteY2" fmla="*/ 5151451 h 5159402"/>
              <a:gd name="connsiteX3" fmla="*/ 8915 w 4877181"/>
              <a:gd name="connsiteY3" fmla="*/ 5159402 h 5159402"/>
              <a:gd name="connsiteX4" fmla="*/ 963 w 4877181"/>
              <a:gd name="connsiteY4" fmla="*/ 0 h 5159402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877181" h="5159402">
                <a:moveTo>
                  <a:pt x="963" y="0"/>
                </a:moveTo>
                <a:lnTo>
                  <a:pt x="2364569" y="0"/>
                </a:lnTo>
                <a:lnTo>
                  <a:pt x="4877181" y="5151451"/>
                </a:lnTo>
                <a:lnTo>
                  <a:pt x="8915" y="5159402"/>
                </a:lnTo>
                <a:cubicBezTo>
                  <a:pt x="14216" y="3439601"/>
                  <a:pt x="-4338" y="1719801"/>
                  <a:pt x="963" y="0"/>
                </a:cubicBezTo>
                <a:close/>
              </a:path>
            </a:pathLst>
          </a:custGeom>
          <a:gradFill>
            <a:gsLst>
              <a:gs pos="0">
                <a:srgbClr val="273B19"/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rgbClr val="273B19"/>
              </a:gs>
            </a:gsLst>
            <a:path path="circle">
              <a:fillToRect l="100000" t="100000"/>
            </a:path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/>
          </a:p>
        </p:txBody>
      </p:sp>
      <p:graphicFrame>
        <p:nvGraphicFramePr>
          <p:cNvPr id="18" name="Chart 25"/>
          <p:cNvGraphicFramePr/>
          <p:nvPr/>
        </p:nvGraphicFramePr>
        <p:xfrm>
          <a:off x="191344" y="2744924"/>
          <a:ext cx="2376264" cy="2029573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19" name="TextBox 18"/>
          <p:cNvSpPr txBox="1"/>
          <p:nvPr/>
        </p:nvSpPr>
        <p:spPr>
          <a:xfrm>
            <a:off x="515380" y="4977172"/>
            <a:ext cx="2371582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ru-RU" altLang="ko-KR" b="1" dirty="0">
                <a:solidFill>
                  <a:schemeClr val="bg1"/>
                </a:solidFill>
                <a:cs typeface="Arial" pitchFamily="34" charset="0"/>
              </a:rPr>
              <a:t>Проблемных сделок</a:t>
            </a:r>
            <a:endParaRPr lang="en-US" altLang="ko-KR" b="1" dirty="0">
              <a:solidFill>
                <a:schemeClr val="bg1"/>
              </a:solidFill>
              <a:cs typeface="Arial" pitchFamily="34" charset="0"/>
            </a:endParaRPr>
          </a:p>
        </p:txBody>
      </p:sp>
      <p:sp>
        <p:nvSpPr>
          <p:cNvPr id="20" name="Frame 17">
            <a:extLst>
              <a:ext uri="{FF2B5EF4-FFF2-40B4-BE49-F238E27FC236}">
                <a16:creationId xmlns:a16="http://schemas.microsoft.com/office/drawing/2014/main" id="{FD926D99-A9C0-4588-B9C8-7ECABD141A20}"/>
              </a:ext>
            </a:extLst>
          </p:cNvPr>
          <p:cNvSpPr/>
          <p:nvPr/>
        </p:nvSpPr>
        <p:spPr>
          <a:xfrm>
            <a:off x="3289895" y="2758637"/>
            <a:ext cx="646446" cy="6056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1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645262" y="3945619"/>
            <a:ext cx="7056784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2800" b="1" dirty="0">
                <a:latin typeface="Arial" panose="020B0604020202020204" pitchFamily="34" charset="0"/>
              </a:rPr>
              <a:t>Собственная</a:t>
            </a:r>
            <a:r>
              <a:rPr lang="ru-RU" sz="2800" b="1" dirty="0">
                <a:solidFill>
                  <a:srgbClr val="4DAA59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>
                <a:solidFill>
                  <a:srgbClr val="70AD47"/>
                </a:solidFill>
                <a:latin typeface="Arial" panose="020B0604020202020204" pitchFamily="34" charset="0"/>
                <a:cs typeface="Arial" pitchFamily="34" charset="0"/>
              </a:rPr>
              <a:t>Арбитражная комиссия</a:t>
            </a:r>
          </a:p>
        </p:txBody>
      </p:sp>
      <p:sp>
        <p:nvSpPr>
          <p:cNvPr id="22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175981" y="2789215"/>
            <a:ext cx="7056784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2800" b="1" dirty="0">
                <a:latin typeface="Arial" panose="020B0604020202020204" pitchFamily="34" charset="0"/>
              </a:rPr>
              <a:t>Принцип</a:t>
            </a:r>
            <a:r>
              <a:rPr lang="ru-RU" sz="2800" b="1" dirty="0">
                <a:solidFill>
                  <a:srgbClr val="4DAA59"/>
                </a:solidFill>
                <a:latin typeface="Arial" panose="020B0604020202020204" pitchFamily="34" charset="0"/>
              </a:rPr>
              <a:t> </a:t>
            </a:r>
            <a:r>
              <a:rPr lang="ru-RU" sz="2800" b="1" dirty="0">
                <a:solidFill>
                  <a:srgbClr val="70AD47"/>
                </a:solidFill>
                <a:latin typeface="Arial" panose="020B0604020202020204" pitchFamily="34" charset="0"/>
                <a:cs typeface="Arial" pitchFamily="34" charset="0"/>
              </a:rPr>
              <a:t>«поставка против платежа»</a:t>
            </a:r>
          </a:p>
        </p:txBody>
      </p:sp>
      <p:sp>
        <p:nvSpPr>
          <p:cNvPr id="23" name="Frame 17">
            <a:extLst>
              <a:ext uri="{FF2B5EF4-FFF2-40B4-BE49-F238E27FC236}">
                <a16:creationId xmlns:a16="http://schemas.microsoft.com/office/drawing/2014/main" id="{FD926D99-A9C0-4588-B9C8-7ECABD141A20}"/>
              </a:ext>
            </a:extLst>
          </p:cNvPr>
          <p:cNvSpPr/>
          <p:nvPr/>
        </p:nvSpPr>
        <p:spPr>
          <a:xfrm>
            <a:off x="3734728" y="3911329"/>
            <a:ext cx="646446" cy="6056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4" name="Frame 17">
            <a:extLst>
              <a:ext uri="{FF2B5EF4-FFF2-40B4-BE49-F238E27FC236}">
                <a16:creationId xmlns:a16="http://schemas.microsoft.com/office/drawing/2014/main" id="{FD926D99-A9C0-4588-B9C8-7ECABD141A20}"/>
              </a:ext>
            </a:extLst>
          </p:cNvPr>
          <p:cNvSpPr/>
          <p:nvPr/>
        </p:nvSpPr>
        <p:spPr>
          <a:xfrm>
            <a:off x="2845062" y="1709889"/>
            <a:ext cx="646446" cy="6056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  <p:sp>
        <p:nvSpPr>
          <p:cNvPr id="25" name="Text Box 11">
            <a:extLst>
              <a:ext uri="{FF2B5EF4-FFF2-40B4-BE49-F238E27FC236}">
                <a16:creationId xmlns:a16="http://schemas.microsoft.com/office/drawing/2014/main" id="{20FF61DD-B116-4121-9C96-ED22E3D0432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4979876" y="5060807"/>
            <a:ext cx="7056784" cy="523220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lvl="0"/>
            <a:r>
              <a:rPr lang="ru-RU" sz="2800" b="1" dirty="0">
                <a:latin typeface="Arial" panose="020B0604020202020204" pitchFamily="34" charset="0"/>
              </a:rPr>
              <a:t>Консультации и техподдержка </a:t>
            </a:r>
            <a:r>
              <a:rPr lang="ru-RU" sz="2800" b="1" dirty="0">
                <a:solidFill>
                  <a:srgbClr val="70AD47"/>
                </a:solidFill>
                <a:latin typeface="Arial" panose="020B0604020202020204" pitchFamily="34" charset="0"/>
                <a:cs typeface="Arial" pitchFamily="34" charset="0"/>
              </a:rPr>
              <a:t>24/7</a:t>
            </a:r>
          </a:p>
        </p:txBody>
      </p:sp>
      <p:sp>
        <p:nvSpPr>
          <p:cNvPr id="26" name="Frame 17">
            <a:extLst>
              <a:ext uri="{FF2B5EF4-FFF2-40B4-BE49-F238E27FC236}">
                <a16:creationId xmlns:a16="http://schemas.microsoft.com/office/drawing/2014/main" id="{FD926D99-A9C0-4588-B9C8-7ECABD141A20}"/>
              </a:ext>
            </a:extLst>
          </p:cNvPr>
          <p:cNvSpPr/>
          <p:nvPr/>
        </p:nvSpPr>
        <p:spPr>
          <a:xfrm>
            <a:off x="4179560" y="5019591"/>
            <a:ext cx="646446" cy="605653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15456" y="380544"/>
                </a:moveTo>
                <a:lnTo>
                  <a:pt x="415456" y="385333"/>
                </a:lnTo>
                <a:lnTo>
                  <a:pt x="385333" y="385333"/>
                </a:lnTo>
                <a:lnTo>
                  <a:pt x="385333" y="2854667"/>
                </a:lnTo>
                <a:lnTo>
                  <a:pt x="1529120" y="2854667"/>
                </a:lnTo>
                <a:cubicBezTo>
                  <a:pt x="1267123" y="2430711"/>
                  <a:pt x="997530" y="1721825"/>
                  <a:pt x="436017" y="1672600"/>
                </a:cubicBezTo>
                <a:lnTo>
                  <a:pt x="600235" y="1185112"/>
                </a:lnTo>
                <a:cubicBezTo>
                  <a:pt x="1132790" y="1359573"/>
                  <a:pt x="1278822" y="1550851"/>
                  <a:pt x="1544730" y="1923929"/>
                </a:cubicBezTo>
                <a:cubicBezTo>
                  <a:pt x="1789452" y="1379400"/>
                  <a:pt x="1927092" y="1088696"/>
                  <a:pt x="2233403" y="596568"/>
                </a:cubicBezTo>
                <a:lnTo>
                  <a:pt x="2770666" y="596568"/>
                </a:lnTo>
                <a:cubicBezTo>
                  <a:pt x="2331495" y="1220469"/>
                  <a:pt x="1907612" y="2113878"/>
                  <a:pt x="1578489" y="2854667"/>
                </a:cubicBezTo>
                <a:lnTo>
                  <a:pt x="2854667" y="2854667"/>
                </a:lnTo>
                <a:lnTo>
                  <a:pt x="2854667" y="596568"/>
                </a:lnTo>
                <a:lnTo>
                  <a:pt x="2858395" y="596568"/>
                </a:lnTo>
                <a:lnTo>
                  <a:pt x="2858395" y="380544"/>
                </a:lnTo>
                <a:close/>
                <a:moveTo>
                  <a:pt x="0" y="0"/>
                </a:moveTo>
                <a:lnTo>
                  <a:pt x="3240000" y="0"/>
                </a:lnTo>
                <a:lnTo>
                  <a:pt x="3240000" y="3240000"/>
                </a:lnTo>
                <a:lnTo>
                  <a:pt x="0" y="3240000"/>
                </a:lnTo>
                <a:close/>
              </a:path>
            </a:pathLst>
          </a:custGeom>
          <a:solidFill>
            <a:srgbClr val="64994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dirty="0">
              <a:solidFill>
                <a:schemeClr val="tx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0638168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Заголовок 8"/>
          <p:cNvSpPr>
            <a:spLocks noGrp="1"/>
          </p:cNvSpPr>
          <p:nvPr>
            <p:ph type="title"/>
          </p:nvPr>
        </p:nvSpPr>
        <p:spPr>
          <a:xfrm>
            <a:off x="2891644" y="370240"/>
            <a:ext cx="9300356" cy="693494"/>
          </a:xfrm>
        </p:spPr>
        <p:txBody>
          <a:bodyPr>
            <a:normAutofit/>
          </a:bodyPr>
          <a:lstStyle/>
          <a:p>
            <a:pPr algn="ctr"/>
            <a:r>
              <a:rPr lang="ru-RU" sz="3600" dirty="0"/>
              <a:t>Простой и бесплатный вход</a:t>
            </a:r>
          </a:p>
        </p:txBody>
      </p:sp>
      <p:sp>
        <p:nvSpPr>
          <p:cNvPr id="10" name="Pentagon 4"/>
          <p:cNvSpPr/>
          <p:nvPr/>
        </p:nvSpPr>
        <p:spPr>
          <a:xfrm>
            <a:off x="3863752" y="1700808"/>
            <a:ext cx="4248472" cy="733776"/>
          </a:xfrm>
          <a:prstGeom prst="homePlate">
            <a:avLst/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177"/>
          </a:p>
        </p:txBody>
      </p:sp>
      <p:sp>
        <p:nvSpPr>
          <p:cNvPr id="11" name="Pentagon 5"/>
          <p:cNvSpPr/>
          <p:nvPr/>
        </p:nvSpPr>
        <p:spPr>
          <a:xfrm>
            <a:off x="3863752" y="2532537"/>
            <a:ext cx="6696743" cy="733776"/>
          </a:xfrm>
          <a:prstGeom prst="homePlate">
            <a:avLst/>
          </a:prstGeom>
          <a:solidFill>
            <a:schemeClr val="accent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177"/>
          </a:p>
        </p:txBody>
      </p:sp>
      <p:sp>
        <p:nvSpPr>
          <p:cNvPr id="12" name="Pentagon 6"/>
          <p:cNvSpPr/>
          <p:nvPr/>
        </p:nvSpPr>
        <p:spPr>
          <a:xfrm>
            <a:off x="3863752" y="3364266"/>
            <a:ext cx="3600400" cy="733776"/>
          </a:xfrm>
          <a:prstGeom prst="homePlate">
            <a:avLst/>
          </a:prstGeom>
          <a:solidFill>
            <a:schemeClr val="accent3">
              <a:lumMod val="40000"/>
              <a:lumOff val="60000"/>
            </a:schemeClr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177"/>
          </a:p>
        </p:txBody>
      </p:sp>
      <p:sp>
        <p:nvSpPr>
          <p:cNvPr id="13" name="Pentagon 5"/>
          <p:cNvSpPr/>
          <p:nvPr/>
        </p:nvSpPr>
        <p:spPr>
          <a:xfrm>
            <a:off x="3863753" y="4195995"/>
            <a:ext cx="4968552" cy="733776"/>
          </a:xfrm>
          <a:prstGeom prst="homePlate">
            <a:avLst/>
          </a:prstGeom>
          <a:solidFill>
            <a:schemeClr val="accent2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177"/>
          </a:p>
        </p:txBody>
      </p:sp>
      <p:sp>
        <p:nvSpPr>
          <p:cNvPr id="14" name="Pentagon 4"/>
          <p:cNvSpPr/>
          <p:nvPr/>
        </p:nvSpPr>
        <p:spPr>
          <a:xfrm>
            <a:off x="3863752" y="5027725"/>
            <a:ext cx="6984776" cy="733776"/>
          </a:xfrm>
          <a:prstGeom prst="homePlate">
            <a:avLst/>
          </a:prstGeom>
          <a:solidFill>
            <a:schemeClr val="accent1"/>
          </a:solidFill>
          <a:ln w="2540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177"/>
          </a:p>
        </p:txBody>
      </p:sp>
      <p:sp>
        <p:nvSpPr>
          <p:cNvPr id="15" name="Заголовок 8"/>
          <p:cNvSpPr txBox="1">
            <a:spLocks/>
          </p:cNvSpPr>
          <p:nvPr/>
        </p:nvSpPr>
        <p:spPr>
          <a:xfrm>
            <a:off x="4007769" y="1810322"/>
            <a:ext cx="2952328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Аккредитация</a:t>
            </a:r>
          </a:p>
        </p:txBody>
      </p:sp>
      <p:sp>
        <p:nvSpPr>
          <p:cNvPr id="16" name="Заголовок 8"/>
          <p:cNvSpPr txBox="1">
            <a:spLocks/>
          </p:cNvSpPr>
          <p:nvPr/>
        </p:nvSpPr>
        <p:spPr>
          <a:xfrm>
            <a:off x="4007769" y="2642051"/>
            <a:ext cx="5544616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Программное обеспечение</a:t>
            </a:r>
          </a:p>
        </p:txBody>
      </p:sp>
      <p:sp>
        <p:nvSpPr>
          <p:cNvPr id="17" name="Заголовок 8"/>
          <p:cNvSpPr txBox="1">
            <a:spLocks/>
          </p:cNvSpPr>
          <p:nvPr/>
        </p:nvSpPr>
        <p:spPr>
          <a:xfrm>
            <a:off x="4007769" y="3473780"/>
            <a:ext cx="2304256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Обучение</a:t>
            </a:r>
          </a:p>
        </p:txBody>
      </p:sp>
      <p:sp>
        <p:nvSpPr>
          <p:cNvPr id="18" name="Заголовок 8"/>
          <p:cNvSpPr txBox="1">
            <a:spLocks/>
          </p:cNvSpPr>
          <p:nvPr/>
        </p:nvSpPr>
        <p:spPr>
          <a:xfrm>
            <a:off x="4007769" y="4305509"/>
            <a:ext cx="3816424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/>
              <a:t>Участие в торгах</a:t>
            </a:r>
          </a:p>
        </p:txBody>
      </p:sp>
      <p:sp>
        <p:nvSpPr>
          <p:cNvPr id="19" name="Заголовок 8"/>
          <p:cNvSpPr txBox="1">
            <a:spLocks/>
          </p:cNvSpPr>
          <p:nvPr/>
        </p:nvSpPr>
        <p:spPr>
          <a:xfrm>
            <a:off x="4007769" y="5137238"/>
            <a:ext cx="5832648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90000" lnSpcReduction="1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dirty="0">
                <a:solidFill>
                  <a:schemeClr val="bg1"/>
                </a:solidFill>
              </a:rPr>
              <a:t>Расчеты через счета биржи</a:t>
            </a:r>
          </a:p>
        </p:txBody>
      </p:sp>
      <p:sp>
        <p:nvSpPr>
          <p:cNvPr id="20" name="Rectangle 4"/>
          <p:cNvSpPr/>
          <p:nvPr/>
        </p:nvSpPr>
        <p:spPr>
          <a:xfrm>
            <a:off x="1127448" y="1700808"/>
            <a:ext cx="2578670" cy="4060693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2177"/>
          </a:p>
        </p:txBody>
      </p:sp>
      <p:sp>
        <p:nvSpPr>
          <p:cNvPr id="22" name="Заголовок 8"/>
          <p:cNvSpPr txBox="1">
            <a:spLocks/>
          </p:cNvSpPr>
          <p:nvPr/>
        </p:nvSpPr>
        <p:spPr>
          <a:xfrm>
            <a:off x="1349099" y="3084456"/>
            <a:ext cx="2160240" cy="514748"/>
          </a:xfrm>
          <a:prstGeom prst="rect">
            <a:avLst/>
          </a:prstGeom>
        </p:spPr>
        <p:txBody>
          <a:bodyPr vert="horz" lIns="91440" tIns="45720" rIns="91440" bIns="45720" rtlCol="0" anchor="t">
            <a:normAutofit fontScale="75000" lnSpcReduction="20000"/>
          </a:bodyPr>
          <a:lstStyle>
            <a:lvl1pPr algn="l" defTabSz="829544" rtl="0" eaLnBrk="1" latinLnBrk="1" hangingPunct="1">
              <a:spcBef>
                <a:spcPct val="0"/>
              </a:spcBef>
              <a:buNone/>
              <a:defRPr sz="3200" b="1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ru-RU" sz="3600" dirty="0"/>
              <a:t>Бесплатно</a:t>
            </a:r>
            <a:endParaRPr lang="ru-RU" dirty="0"/>
          </a:p>
        </p:txBody>
      </p:sp>
      <p:grpSp>
        <p:nvGrpSpPr>
          <p:cNvPr id="23" name="Google Shape;13962;p77"/>
          <p:cNvGrpSpPr/>
          <p:nvPr/>
        </p:nvGrpSpPr>
        <p:grpSpPr>
          <a:xfrm>
            <a:off x="7104114" y="1834175"/>
            <a:ext cx="510473" cy="514705"/>
            <a:chOff x="-61782550" y="2664925"/>
            <a:chExt cx="316650" cy="319275"/>
          </a:xfrm>
          <a:solidFill>
            <a:schemeClr val="bg1"/>
          </a:solidFill>
        </p:grpSpPr>
        <p:sp>
          <p:nvSpPr>
            <p:cNvPr id="24" name="Google Shape;13963;p77"/>
            <p:cNvSpPr/>
            <p:nvPr/>
          </p:nvSpPr>
          <p:spPr>
            <a:xfrm>
              <a:off x="-61782550" y="2664925"/>
              <a:ext cx="316650" cy="319275"/>
            </a:xfrm>
            <a:custGeom>
              <a:avLst/>
              <a:gdLst/>
              <a:ahLst/>
              <a:cxnLst/>
              <a:rect l="l" t="t" r="r" b="b"/>
              <a:pathLst>
                <a:path w="12666" h="12771" extrusionOk="0">
                  <a:moveTo>
                    <a:pt x="10208" y="851"/>
                  </a:moveTo>
                  <a:cubicBezTo>
                    <a:pt x="10366" y="1670"/>
                    <a:pt x="10996" y="2300"/>
                    <a:pt x="11815" y="2457"/>
                  </a:cubicBezTo>
                  <a:lnTo>
                    <a:pt x="11815" y="6679"/>
                  </a:lnTo>
                  <a:lnTo>
                    <a:pt x="11783" y="6679"/>
                  </a:lnTo>
                  <a:cubicBezTo>
                    <a:pt x="10964" y="6837"/>
                    <a:pt x="10334" y="7467"/>
                    <a:pt x="10177" y="8286"/>
                  </a:cubicBezTo>
                  <a:lnTo>
                    <a:pt x="9011" y="8286"/>
                  </a:lnTo>
                  <a:cubicBezTo>
                    <a:pt x="9105" y="8002"/>
                    <a:pt x="9168" y="7719"/>
                    <a:pt x="9168" y="7467"/>
                  </a:cubicBezTo>
                  <a:cubicBezTo>
                    <a:pt x="9168" y="6081"/>
                    <a:pt x="8066" y="4978"/>
                    <a:pt x="6711" y="4978"/>
                  </a:cubicBezTo>
                  <a:cubicBezTo>
                    <a:pt x="5325" y="4978"/>
                    <a:pt x="4222" y="6081"/>
                    <a:pt x="4222" y="7467"/>
                  </a:cubicBezTo>
                  <a:cubicBezTo>
                    <a:pt x="4222" y="7719"/>
                    <a:pt x="4254" y="8002"/>
                    <a:pt x="4380" y="8286"/>
                  </a:cubicBezTo>
                  <a:lnTo>
                    <a:pt x="2395" y="8286"/>
                  </a:lnTo>
                  <a:cubicBezTo>
                    <a:pt x="2237" y="7467"/>
                    <a:pt x="1607" y="6837"/>
                    <a:pt x="788" y="6679"/>
                  </a:cubicBezTo>
                  <a:lnTo>
                    <a:pt x="788" y="2457"/>
                  </a:lnTo>
                  <a:cubicBezTo>
                    <a:pt x="1607" y="2300"/>
                    <a:pt x="2237" y="1670"/>
                    <a:pt x="2395" y="851"/>
                  </a:cubicBezTo>
                  <a:close/>
                  <a:moveTo>
                    <a:pt x="6711" y="5797"/>
                  </a:moveTo>
                  <a:cubicBezTo>
                    <a:pt x="7593" y="5797"/>
                    <a:pt x="8349" y="6553"/>
                    <a:pt x="8349" y="7467"/>
                  </a:cubicBezTo>
                  <a:cubicBezTo>
                    <a:pt x="8349" y="8349"/>
                    <a:pt x="7593" y="9105"/>
                    <a:pt x="6711" y="9105"/>
                  </a:cubicBezTo>
                  <a:cubicBezTo>
                    <a:pt x="5797" y="9105"/>
                    <a:pt x="5041" y="8349"/>
                    <a:pt x="5041" y="7467"/>
                  </a:cubicBezTo>
                  <a:cubicBezTo>
                    <a:pt x="5041" y="6553"/>
                    <a:pt x="5797" y="5797"/>
                    <a:pt x="6711" y="5797"/>
                  </a:cubicBezTo>
                  <a:close/>
                  <a:moveTo>
                    <a:pt x="7530" y="9767"/>
                  </a:moveTo>
                  <a:lnTo>
                    <a:pt x="7530" y="11468"/>
                  </a:lnTo>
                  <a:lnTo>
                    <a:pt x="6932" y="11090"/>
                  </a:lnTo>
                  <a:cubicBezTo>
                    <a:pt x="6853" y="11043"/>
                    <a:pt x="6774" y="11019"/>
                    <a:pt x="6695" y="11019"/>
                  </a:cubicBezTo>
                  <a:cubicBezTo>
                    <a:pt x="6616" y="11019"/>
                    <a:pt x="6538" y="11043"/>
                    <a:pt x="6459" y="11090"/>
                  </a:cubicBezTo>
                  <a:lnTo>
                    <a:pt x="5860" y="11468"/>
                  </a:lnTo>
                  <a:lnTo>
                    <a:pt x="5860" y="9767"/>
                  </a:lnTo>
                  <a:cubicBezTo>
                    <a:pt x="6144" y="9861"/>
                    <a:pt x="6427" y="9924"/>
                    <a:pt x="6711" y="9924"/>
                  </a:cubicBezTo>
                  <a:cubicBezTo>
                    <a:pt x="6995" y="9924"/>
                    <a:pt x="7247" y="9893"/>
                    <a:pt x="7530" y="9767"/>
                  </a:cubicBezTo>
                  <a:close/>
                  <a:moveTo>
                    <a:pt x="2048" y="0"/>
                  </a:moveTo>
                  <a:cubicBezTo>
                    <a:pt x="1828" y="0"/>
                    <a:pt x="1670" y="221"/>
                    <a:pt x="1670" y="441"/>
                  </a:cubicBezTo>
                  <a:cubicBezTo>
                    <a:pt x="1670" y="1103"/>
                    <a:pt x="1103" y="1670"/>
                    <a:pt x="410" y="1670"/>
                  </a:cubicBezTo>
                  <a:cubicBezTo>
                    <a:pt x="158" y="1670"/>
                    <a:pt x="0" y="1859"/>
                    <a:pt x="0" y="2111"/>
                  </a:cubicBezTo>
                  <a:lnTo>
                    <a:pt x="0" y="7057"/>
                  </a:lnTo>
                  <a:cubicBezTo>
                    <a:pt x="0" y="7278"/>
                    <a:pt x="189" y="7498"/>
                    <a:pt x="410" y="7498"/>
                  </a:cubicBezTo>
                  <a:cubicBezTo>
                    <a:pt x="1072" y="7498"/>
                    <a:pt x="1670" y="8034"/>
                    <a:pt x="1670" y="8758"/>
                  </a:cubicBezTo>
                  <a:cubicBezTo>
                    <a:pt x="1670" y="8979"/>
                    <a:pt x="1859" y="9136"/>
                    <a:pt x="2048" y="9136"/>
                  </a:cubicBezTo>
                  <a:lnTo>
                    <a:pt x="4884" y="9136"/>
                  </a:lnTo>
                  <a:lnTo>
                    <a:pt x="5073" y="9326"/>
                  </a:lnTo>
                  <a:lnTo>
                    <a:pt x="5073" y="12318"/>
                  </a:lnTo>
                  <a:cubicBezTo>
                    <a:pt x="5073" y="12562"/>
                    <a:pt x="5298" y="12749"/>
                    <a:pt x="5517" y="12749"/>
                  </a:cubicBezTo>
                  <a:cubicBezTo>
                    <a:pt x="5581" y="12749"/>
                    <a:pt x="5645" y="12732"/>
                    <a:pt x="5703" y="12697"/>
                  </a:cubicBezTo>
                  <a:lnTo>
                    <a:pt x="6743" y="12003"/>
                  </a:lnTo>
                  <a:lnTo>
                    <a:pt x="7782" y="12697"/>
                  </a:lnTo>
                  <a:cubicBezTo>
                    <a:pt x="7850" y="12747"/>
                    <a:pt x="7926" y="12771"/>
                    <a:pt x="8002" y="12771"/>
                  </a:cubicBezTo>
                  <a:cubicBezTo>
                    <a:pt x="8210" y="12771"/>
                    <a:pt x="8412" y="12595"/>
                    <a:pt x="8412" y="12318"/>
                  </a:cubicBezTo>
                  <a:lnTo>
                    <a:pt x="8412" y="9262"/>
                  </a:lnTo>
                  <a:lnTo>
                    <a:pt x="8601" y="9073"/>
                  </a:lnTo>
                  <a:lnTo>
                    <a:pt x="10618" y="9073"/>
                  </a:lnTo>
                  <a:cubicBezTo>
                    <a:pt x="10838" y="9073"/>
                    <a:pt x="10996" y="8884"/>
                    <a:pt x="10996" y="8664"/>
                  </a:cubicBezTo>
                  <a:cubicBezTo>
                    <a:pt x="10996" y="8002"/>
                    <a:pt x="11563" y="7404"/>
                    <a:pt x="12224" y="7404"/>
                  </a:cubicBezTo>
                  <a:cubicBezTo>
                    <a:pt x="12445" y="7404"/>
                    <a:pt x="12665" y="7215"/>
                    <a:pt x="12665" y="6994"/>
                  </a:cubicBezTo>
                  <a:lnTo>
                    <a:pt x="12665" y="2016"/>
                  </a:lnTo>
                  <a:cubicBezTo>
                    <a:pt x="12602" y="1827"/>
                    <a:pt x="12445" y="1670"/>
                    <a:pt x="12224" y="1670"/>
                  </a:cubicBezTo>
                  <a:cubicBezTo>
                    <a:pt x="11531" y="1670"/>
                    <a:pt x="10996" y="1103"/>
                    <a:pt x="10996" y="441"/>
                  </a:cubicBezTo>
                  <a:cubicBezTo>
                    <a:pt x="10996" y="221"/>
                    <a:pt x="10807" y="0"/>
                    <a:pt x="1058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" name="Google Shape;13964;p77"/>
            <p:cNvSpPr/>
            <p:nvPr/>
          </p:nvSpPr>
          <p:spPr>
            <a:xfrm>
              <a:off x="-61701425" y="2705875"/>
              <a:ext cx="151250" cy="21275"/>
            </a:xfrm>
            <a:custGeom>
              <a:avLst/>
              <a:gdLst/>
              <a:ahLst/>
              <a:cxnLst/>
              <a:rect l="l" t="t" r="r" b="b"/>
              <a:pathLst>
                <a:path w="6050" h="851" extrusionOk="0">
                  <a:moveTo>
                    <a:pt x="410" y="0"/>
                  </a:moveTo>
                  <a:cubicBezTo>
                    <a:pt x="189" y="0"/>
                    <a:pt x="0" y="189"/>
                    <a:pt x="0" y="410"/>
                  </a:cubicBezTo>
                  <a:cubicBezTo>
                    <a:pt x="0" y="662"/>
                    <a:pt x="189" y="851"/>
                    <a:pt x="410" y="851"/>
                  </a:cubicBezTo>
                  <a:lnTo>
                    <a:pt x="5671" y="851"/>
                  </a:lnTo>
                  <a:cubicBezTo>
                    <a:pt x="5892" y="851"/>
                    <a:pt x="6049" y="662"/>
                    <a:pt x="6049" y="410"/>
                  </a:cubicBezTo>
                  <a:cubicBezTo>
                    <a:pt x="6049" y="189"/>
                    <a:pt x="5860" y="0"/>
                    <a:pt x="5671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" name="Google Shape;13965;p77"/>
            <p:cNvSpPr/>
            <p:nvPr/>
          </p:nvSpPr>
          <p:spPr>
            <a:xfrm>
              <a:off x="-61742375" y="2747625"/>
              <a:ext cx="233925" cy="22075"/>
            </a:xfrm>
            <a:custGeom>
              <a:avLst/>
              <a:gdLst/>
              <a:ahLst/>
              <a:cxnLst/>
              <a:rect l="l" t="t" r="r" b="b"/>
              <a:pathLst>
                <a:path w="9357" h="883" extrusionOk="0">
                  <a:moveTo>
                    <a:pt x="410" y="0"/>
                  </a:moveTo>
                  <a:cubicBezTo>
                    <a:pt x="158" y="0"/>
                    <a:pt x="0" y="221"/>
                    <a:pt x="0" y="441"/>
                  </a:cubicBezTo>
                  <a:cubicBezTo>
                    <a:pt x="0" y="693"/>
                    <a:pt x="221" y="882"/>
                    <a:pt x="410" y="882"/>
                  </a:cubicBezTo>
                  <a:lnTo>
                    <a:pt x="8948" y="882"/>
                  </a:lnTo>
                  <a:cubicBezTo>
                    <a:pt x="9200" y="882"/>
                    <a:pt x="9357" y="693"/>
                    <a:pt x="9357" y="441"/>
                  </a:cubicBezTo>
                  <a:cubicBezTo>
                    <a:pt x="9357" y="221"/>
                    <a:pt x="9137" y="0"/>
                    <a:pt x="89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7" name="Google Shape;13870;p77"/>
          <p:cNvGrpSpPr/>
          <p:nvPr/>
        </p:nvGrpSpPr>
        <p:grpSpPr>
          <a:xfrm>
            <a:off x="9768408" y="5137238"/>
            <a:ext cx="447891" cy="514748"/>
            <a:chOff x="-62496925" y="1931475"/>
            <a:chExt cx="275675" cy="316825"/>
          </a:xfrm>
          <a:solidFill>
            <a:schemeClr val="bg1"/>
          </a:solidFill>
        </p:grpSpPr>
        <p:sp>
          <p:nvSpPr>
            <p:cNvPr id="28" name="Google Shape;13871;p77"/>
            <p:cNvSpPr/>
            <p:nvPr/>
          </p:nvSpPr>
          <p:spPr>
            <a:xfrm>
              <a:off x="-62496925" y="1931475"/>
              <a:ext cx="275675" cy="316825"/>
            </a:xfrm>
            <a:custGeom>
              <a:avLst/>
              <a:gdLst/>
              <a:ahLst/>
              <a:cxnLst/>
              <a:rect l="l" t="t" r="r" b="b"/>
              <a:pathLst>
                <a:path w="11027" h="12673" extrusionOk="0">
                  <a:moveTo>
                    <a:pt x="5514" y="1047"/>
                  </a:moveTo>
                  <a:cubicBezTo>
                    <a:pt x="6238" y="1519"/>
                    <a:pt x="7215" y="1834"/>
                    <a:pt x="8003" y="1834"/>
                  </a:cubicBezTo>
                  <a:cubicBezTo>
                    <a:pt x="8538" y="1834"/>
                    <a:pt x="9294" y="1708"/>
                    <a:pt x="10208" y="1204"/>
                  </a:cubicBezTo>
                  <a:lnTo>
                    <a:pt x="10208" y="5237"/>
                  </a:lnTo>
                  <a:cubicBezTo>
                    <a:pt x="10177" y="8198"/>
                    <a:pt x="8349" y="10845"/>
                    <a:pt x="5514" y="11821"/>
                  </a:cubicBezTo>
                  <a:cubicBezTo>
                    <a:pt x="2710" y="10845"/>
                    <a:pt x="820" y="8198"/>
                    <a:pt x="820" y="5237"/>
                  </a:cubicBezTo>
                  <a:lnTo>
                    <a:pt x="820" y="1204"/>
                  </a:lnTo>
                  <a:cubicBezTo>
                    <a:pt x="1513" y="1582"/>
                    <a:pt x="2269" y="1834"/>
                    <a:pt x="3025" y="1834"/>
                  </a:cubicBezTo>
                  <a:cubicBezTo>
                    <a:pt x="3844" y="1834"/>
                    <a:pt x="4758" y="1551"/>
                    <a:pt x="5514" y="1047"/>
                  </a:cubicBezTo>
                  <a:close/>
                  <a:moveTo>
                    <a:pt x="10654" y="1"/>
                  </a:moveTo>
                  <a:cubicBezTo>
                    <a:pt x="10567" y="1"/>
                    <a:pt x="10476" y="33"/>
                    <a:pt x="10397" y="102"/>
                  </a:cubicBezTo>
                  <a:cubicBezTo>
                    <a:pt x="9389" y="826"/>
                    <a:pt x="8538" y="952"/>
                    <a:pt x="8034" y="952"/>
                  </a:cubicBezTo>
                  <a:cubicBezTo>
                    <a:pt x="7310" y="952"/>
                    <a:pt x="6396" y="637"/>
                    <a:pt x="5766" y="165"/>
                  </a:cubicBezTo>
                  <a:cubicBezTo>
                    <a:pt x="5703" y="102"/>
                    <a:pt x="5616" y="70"/>
                    <a:pt x="5526" y="70"/>
                  </a:cubicBezTo>
                  <a:cubicBezTo>
                    <a:pt x="5435" y="70"/>
                    <a:pt x="5341" y="102"/>
                    <a:pt x="5262" y="165"/>
                  </a:cubicBezTo>
                  <a:cubicBezTo>
                    <a:pt x="4632" y="637"/>
                    <a:pt x="3781" y="952"/>
                    <a:pt x="3025" y="952"/>
                  </a:cubicBezTo>
                  <a:cubicBezTo>
                    <a:pt x="2237" y="952"/>
                    <a:pt x="1450" y="637"/>
                    <a:pt x="662" y="102"/>
                  </a:cubicBezTo>
                  <a:cubicBezTo>
                    <a:pt x="582" y="40"/>
                    <a:pt x="495" y="13"/>
                    <a:pt x="411" y="13"/>
                  </a:cubicBezTo>
                  <a:cubicBezTo>
                    <a:pt x="196" y="13"/>
                    <a:pt x="0" y="190"/>
                    <a:pt x="0" y="417"/>
                  </a:cubicBezTo>
                  <a:lnTo>
                    <a:pt x="0" y="5237"/>
                  </a:lnTo>
                  <a:cubicBezTo>
                    <a:pt x="0" y="8608"/>
                    <a:pt x="2080" y="11601"/>
                    <a:pt x="5388" y="12641"/>
                  </a:cubicBezTo>
                  <a:cubicBezTo>
                    <a:pt x="5419" y="12641"/>
                    <a:pt x="5451" y="12672"/>
                    <a:pt x="5514" y="12672"/>
                  </a:cubicBezTo>
                  <a:cubicBezTo>
                    <a:pt x="5545" y="12672"/>
                    <a:pt x="5577" y="12672"/>
                    <a:pt x="5640" y="12641"/>
                  </a:cubicBezTo>
                  <a:cubicBezTo>
                    <a:pt x="8979" y="11538"/>
                    <a:pt x="11027" y="8513"/>
                    <a:pt x="11027" y="5237"/>
                  </a:cubicBezTo>
                  <a:lnTo>
                    <a:pt x="11027" y="417"/>
                  </a:lnTo>
                  <a:cubicBezTo>
                    <a:pt x="11027" y="157"/>
                    <a:pt x="10848" y="1"/>
                    <a:pt x="10654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9" name="Google Shape;13872;p77"/>
            <p:cNvSpPr/>
            <p:nvPr/>
          </p:nvSpPr>
          <p:spPr>
            <a:xfrm>
              <a:off x="-62390600" y="2016700"/>
              <a:ext cx="63025" cy="146525"/>
            </a:xfrm>
            <a:custGeom>
              <a:avLst/>
              <a:gdLst/>
              <a:ahLst/>
              <a:cxnLst/>
              <a:rect l="l" t="t" r="r" b="b"/>
              <a:pathLst>
                <a:path w="2521" h="5861" extrusionOk="0">
                  <a:moveTo>
                    <a:pt x="1261" y="1"/>
                  </a:moveTo>
                  <a:cubicBezTo>
                    <a:pt x="1009" y="1"/>
                    <a:pt x="820" y="190"/>
                    <a:pt x="820" y="410"/>
                  </a:cubicBezTo>
                  <a:lnTo>
                    <a:pt x="820" y="694"/>
                  </a:lnTo>
                  <a:cubicBezTo>
                    <a:pt x="347" y="851"/>
                    <a:pt x="1" y="1324"/>
                    <a:pt x="1" y="1891"/>
                  </a:cubicBezTo>
                  <a:cubicBezTo>
                    <a:pt x="1" y="2553"/>
                    <a:pt x="536" y="2931"/>
                    <a:pt x="977" y="3246"/>
                  </a:cubicBezTo>
                  <a:cubicBezTo>
                    <a:pt x="1292" y="3498"/>
                    <a:pt x="1639" y="3718"/>
                    <a:pt x="1639" y="3970"/>
                  </a:cubicBezTo>
                  <a:cubicBezTo>
                    <a:pt x="1639" y="4191"/>
                    <a:pt x="1450" y="4411"/>
                    <a:pt x="1261" y="4411"/>
                  </a:cubicBezTo>
                  <a:cubicBezTo>
                    <a:pt x="1040" y="4411"/>
                    <a:pt x="820" y="4191"/>
                    <a:pt x="820" y="3970"/>
                  </a:cubicBezTo>
                  <a:cubicBezTo>
                    <a:pt x="820" y="3718"/>
                    <a:pt x="631" y="3561"/>
                    <a:pt x="410" y="3561"/>
                  </a:cubicBezTo>
                  <a:cubicBezTo>
                    <a:pt x="221" y="3561"/>
                    <a:pt x="32" y="3781"/>
                    <a:pt x="32" y="3970"/>
                  </a:cubicBezTo>
                  <a:cubicBezTo>
                    <a:pt x="32" y="4506"/>
                    <a:pt x="379" y="4947"/>
                    <a:pt x="851" y="5136"/>
                  </a:cubicBezTo>
                  <a:lnTo>
                    <a:pt x="851" y="5419"/>
                  </a:lnTo>
                  <a:cubicBezTo>
                    <a:pt x="851" y="5671"/>
                    <a:pt x="1040" y="5861"/>
                    <a:pt x="1292" y="5861"/>
                  </a:cubicBezTo>
                  <a:cubicBezTo>
                    <a:pt x="1513" y="5861"/>
                    <a:pt x="1670" y="5671"/>
                    <a:pt x="1670" y="5419"/>
                  </a:cubicBezTo>
                  <a:lnTo>
                    <a:pt x="1670" y="5136"/>
                  </a:lnTo>
                  <a:cubicBezTo>
                    <a:pt x="2143" y="4978"/>
                    <a:pt x="2521" y="4506"/>
                    <a:pt x="2521" y="3970"/>
                  </a:cubicBezTo>
                  <a:cubicBezTo>
                    <a:pt x="2521" y="3309"/>
                    <a:pt x="1954" y="2899"/>
                    <a:pt x="1513" y="2584"/>
                  </a:cubicBezTo>
                  <a:cubicBezTo>
                    <a:pt x="1198" y="2363"/>
                    <a:pt x="851" y="2111"/>
                    <a:pt x="851" y="1891"/>
                  </a:cubicBezTo>
                  <a:cubicBezTo>
                    <a:pt x="851" y="1670"/>
                    <a:pt x="1040" y="1481"/>
                    <a:pt x="1261" y="1481"/>
                  </a:cubicBezTo>
                  <a:cubicBezTo>
                    <a:pt x="1481" y="1481"/>
                    <a:pt x="1639" y="1670"/>
                    <a:pt x="1639" y="1891"/>
                  </a:cubicBezTo>
                  <a:cubicBezTo>
                    <a:pt x="1639" y="2111"/>
                    <a:pt x="1828" y="2300"/>
                    <a:pt x="2080" y="2300"/>
                  </a:cubicBezTo>
                  <a:cubicBezTo>
                    <a:pt x="2300" y="2300"/>
                    <a:pt x="2458" y="2111"/>
                    <a:pt x="2458" y="1891"/>
                  </a:cubicBezTo>
                  <a:cubicBezTo>
                    <a:pt x="2458" y="1324"/>
                    <a:pt x="2111" y="883"/>
                    <a:pt x="1639" y="694"/>
                  </a:cubicBezTo>
                  <a:lnTo>
                    <a:pt x="1639" y="410"/>
                  </a:lnTo>
                  <a:cubicBezTo>
                    <a:pt x="1639" y="190"/>
                    <a:pt x="1450" y="1"/>
                    <a:pt x="126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30" name="Google Shape;13529;p76"/>
          <p:cNvSpPr/>
          <p:nvPr/>
        </p:nvSpPr>
        <p:spPr>
          <a:xfrm>
            <a:off x="6399836" y="3473780"/>
            <a:ext cx="615297" cy="514748"/>
          </a:xfrm>
          <a:custGeom>
            <a:avLst/>
            <a:gdLst/>
            <a:ahLst/>
            <a:cxnLst/>
            <a:rect l="l" t="t" r="r" b="b"/>
            <a:pathLst>
              <a:path w="12918" h="10807" extrusionOk="0">
                <a:moveTo>
                  <a:pt x="10807" y="851"/>
                </a:moveTo>
                <a:cubicBezTo>
                  <a:pt x="10366" y="1608"/>
                  <a:pt x="10366" y="2584"/>
                  <a:pt x="10807" y="3340"/>
                </a:cubicBezTo>
                <a:lnTo>
                  <a:pt x="2332" y="3340"/>
                </a:lnTo>
                <a:cubicBezTo>
                  <a:pt x="1765" y="3340"/>
                  <a:pt x="1293" y="2962"/>
                  <a:pt x="1135" y="2458"/>
                </a:cubicBezTo>
                <a:cubicBezTo>
                  <a:pt x="915" y="1671"/>
                  <a:pt x="1513" y="851"/>
                  <a:pt x="2332" y="851"/>
                </a:cubicBezTo>
                <a:close/>
                <a:moveTo>
                  <a:pt x="8822" y="4159"/>
                </a:moveTo>
                <a:lnTo>
                  <a:pt x="8822" y="6648"/>
                </a:lnTo>
                <a:lnTo>
                  <a:pt x="1891" y="6648"/>
                </a:lnTo>
                <a:lnTo>
                  <a:pt x="1891" y="4159"/>
                </a:lnTo>
                <a:close/>
                <a:moveTo>
                  <a:pt x="10524" y="4159"/>
                </a:moveTo>
                <a:lnTo>
                  <a:pt x="10524" y="6648"/>
                </a:lnTo>
                <a:lnTo>
                  <a:pt x="9704" y="6648"/>
                </a:lnTo>
                <a:lnTo>
                  <a:pt x="9704" y="4159"/>
                </a:lnTo>
                <a:close/>
                <a:moveTo>
                  <a:pt x="12130" y="4159"/>
                </a:moveTo>
                <a:lnTo>
                  <a:pt x="12130" y="6648"/>
                </a:lnTo>
                <a:lnTo>
                  <a:pt x="11343" y="6648"/>
                </a:lnTo>
                <a:lnTo>
                  <a:pt x="11343" y="4159"/>
                </a:lnTo>
                <a:close/>
                <a:moveTo>
                  <a:pt x="1986" y="7467"/>
                </a:moveTo>
                <a:lnTo>
                  <a:pt x="1986" y="9956"/>
                </a:lnTo>
                <a:lnTo>
                  <a:pt x="1104" y="9956"/>
                </a:lnTo>
                <a:lnTo>
                  <a:pt x="1104" y="7467"/>
                </a:lnTo>
                <a:close/>
                <a:moveTo>
                  <a:pt x="3624" y="7467"/>
                </a:moveTo>
                <a:lnTo>
                  <a:pt x="3624" y="9956"/>
                </a:lnTo>
                <a:lnTo>
                  <a:pt x="2805" y="9956"/>
                </a:lnTo>
                <a:lnTo>
                  <a:pt x="2805" y="7467"/>
                </a:lnTo>
                <a:close/>
                <a:moveTo>
                  <a:pt x="11311" y="7467"/>
                </a:moveTo>
                <a:lnTo>
                  <a:pt x="11311" y="9956"/>
                </a:lnTo>
                <a:lnTo>
                  <a:pt x="4443" y="9956"/>
                </a:lnTo>
                <a:lnTo>
                  <a:pt x="4443" y="7467"/>
                </a:lnTo>
                <a:close/>
                <a:moveTo>
                  <a:pt x="2364" y="1"/>
                </a:moveTo>
                <a:cubicBezTo>
                  <a:pt x="1671" y="1"/>
                  <a:pt x="1041" y="379"/>
                  <a:pt x="631" y="914"/>
                </a:cubicBezTo>
                <a:cubicBezTo>
                  <a:pt x="1" y="1828"/>
                  <a:pt x="253" y="3088"/>
                  <a:pt x="1104" y="3718"/>
                </a:cubicBezTo>
                <a:lnTo>
                  <a:pt x="1104" y="6648"/>
                </a:lnTo>
                <a:lnTo>
                  <a:pt x="694" y="6648"/>
                </a:lnTo>
                <a:cubicBezTo>
                  <a:pt x="442" y="6648"/>
                  <a:pt x="284" y="6837"/>
                  <a:pt x="284" y="7058"/>
                </a:cubicBezTo>
                <a:lnTo>
                  <a:pt x="284" y="10366"/>
                </a:lnTo>
                <a:cubicBezTo>
                  <a:pt x="284" y="10618"/>
                  <a:pt x="473" y="10807"/>
                  <a:pt x="694" y="10807"/>
                </a:cubicBezTo>
                <a:lnTo>
                  <a:pt x="11721" y="10807"/>
                </a:lnTo>
                <a:cubicBezTo>
                  <a:pt x="11941" y="10807"/>
                  <a:pt x="12130" y="10618"/>
                  <a:pt x="12130" y="10366"/>
                </a:cubicBezTo>
                <a:lnTo>
                  <a:pt x="12130" y="7499"/>
                </a:lnTo>
                <a:lnTo>
                  <a:pt x="12540" y="7499"/>
                </a:lnTo>
                <a:cubicBezTo>
                  <a:pt x="12760" y="7499"/>
                  <a:pt x="12918" y="7310"/>
                  <a:pt x="12918" y="7058"/>
                </a:cubicBezTo>
                <a:lnTo>
                  <a:pt x="12918" y="3750"/>
                </a:lnTo>
                <a:cubicBezTo>
                  <a:pt x="12918" y="3529"/>
                  <a:pt x="12760" y="3340"/>
                  <a:pt x="12540" y="3340"/>
                </a:cubicBezTo>
                <a:lnTo>
                  <a:pt x="11878" y="3340"/>
                </a:lnTo>
                <a:cubicBezTo>
                  <a:pt x="11091" y="2647"/>
                  <a:pt x="11122" y="1387"/>
                  <a:pt x="11973" y="757"/>
                </a:cubicBezTo>
                <a:cubicBezTo>
                  <a:pt x="12256" y="536"/>
                  <a:pt x="12130" y="64"/>
                  <a:pt x="11784" y="1"/>
                </a:cubicBezTo>
                <a:close/>
              </a:path>
            </a:pathLst>
          </a:custGeom>
          <a:solidFill>
            <a:schemeClr val="accent6">
              <a:lumMod val="50000"/>
            </a:schemeClr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31" name="Google Shape;15116;p81"/>
          <p:cNvGrpSpPr/>
          <p:nvPr/>
        </p:nvGrpSpPr>
        <p:grpSpPr>
          <a:xfrm>
            <a:off x="9468370" y="2642051"/>
            <a:ext cx="582445" cy="514748"/>
            <a:chOff x="-3137650" y="2787000"/>
            <a:chExt cx="291450" cy="257575"/>
          </a:xfrm>
          <a:solidFill>
            <a:schemeClr val="tx1"/>
          </a:solidFill>
        </p:grpSpPr>
        <p:sp>
          <p:nvSpPr>
            <p:cNvPr id="32" name="Google Shape;15117;p81"/>
            <p:cNvSpPr/>
            <p:nvPr/>
          </p:nvSpPr>
          <p:spPr>
            <a:xfrm>
              <a:off x="-3137650" y="2787000"/>
              <a:ext cx="291450" cy="257575"/>
            </a:xfrm>
            <a:custGeom>
              <a:avLst/>
              <a:gdLst/>
              <a:ahLst/>
              <a:cxnLst/>
              <a:rect l="l" t="t" r="r" b="b"/>
              <a:pathLst>
                <a:path w="11658" h="10303" extrusionOk="0">
                  <a:moveTo>
                    <a:pt x="10618" y="693"/>
                  </a:moveTo>
                  <a:cubicBezTo>
                    <a:pt x="10807" y="693"/>
                    <a:pt x="10964" y="851"/>
                    <a:pt x="10964" y="1040"/>
                  </a:cubicBezTo>
                  <a:lnTo>
                    <a:pt x="10964" y="2741"/>
                  </a:lnTo>
                  <a:lnTo>
                    <a:pt x="662" y="2741"/>
                  </a:lnTo>
                  <a:lnTo>
                    <a:pt x="662" y="1040"/>
                  </a:lnTo>
                  <a:cubicBezTo>
                    <a:pt x="662" y="851"/>
                    <a:pt x="820" y="693"/>
                    <a:pt x="1009" y="693"/>
                  </a:cubicBezTo>
                  <a:close/>
                  <a:moveTo>
                    <a:pt x="10996" y="3403"/>
                  </a:moveTo>
                  <a:lnTo>
                    <a:pt x="10996" y="9231"/>
                  </a:lnTo>
                  <a:cubicBezTo>
                    <a:pt x="10964" y="9420"/>
                    <a:pt x="10838" y="9578"/>
                    <a:pt x="10618" y="9578"/>
                  </a:cubicBezTo>
                  <a:lnTo>
                    <a:pt x="1009" y="9578"/>
                  </a:lnTo>
                  <a:cubicBezTo>
                    <a:pt x="820" y="9578"/>
                    <a:pt x="662" y="9420"/>
                    <a:pt x="662" y="9231"/>
                  </a:cubicBezTo>
                  <a:lnTo>
                    <a:pt x="662" y="3403"/>
                  </a:lnTo>
                  <a:close/>
                  <a:moveTo>
                    <a:pt x="1009" y="0"/>
                  </a:moveTo>
                  <a:cubicBezTo>
                    <a:pt x="473" y="0"/>
                    <a:pt x="1" y="473"/>
                    <a:pt x="1" y="1040"/>
                  </a:cubicBezTo>
                  <a:lnTo>
                    <a:pt x="1" y="9263"/>
                  </a:lnTo>
                  <a:cubicBezTo>
                    <a:pt x="1" y="9830"/>
                    <a:pt x="473" y="10302"/>
                    <a:pt x="1009" y="10302"/>
                  </a:cubicBezTo>
                  <a:lnTo>
                    <a:pt x="10618" y="10302"/>
                  </a:lnTo>
                  <a:cubicBezTo>
                    <a:pt x="11185" y="10302"/>
                    <a:pt x="11658" y="9830"/>
                    <a:pt x="11658" y="9263"/>
                  </a:cubicBezTo>
                  <a:lnTo>
                    <a:pt x="11658" y="1040"/>
                  </a:lnTo>
                  <a:cubicBezTo>
                    <a:pt x="11658" y="441"/>
                    <a:pt x="11217" y="0"/>
                    <a:pt x="1061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3" name="Google Shape;15118;p81"/>
            <p:cNvSpPr/>
            <p:nvPr/>
          </p:nvSpPr>
          <p:spPr>
            <a:xfrm>
              <a:off x="-3104575" y="2820875"/>
              <a:ext cx="18150" cy="17350"/>
            </a:xfrm>
            <a:custGeom>
              <a:avLst/>
              <a:gdLst/>
              <a:ahLst/>
              <a:cxnLst/>
              <a:rect l="l" t="t" r="r" b="b"/>
              <a:pathLst>
                <a:path w="726" h="694" extrusionOk="0">
                  <a:moveTo>
                    <a:pt x="348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1" y="536"/>
                    <a:pt x="158" y="693"/>
                    <a:pt x="348" y="693"/>
                  </a:cubicBezTo>
                  <a:cubicBezTo>
                    <a:pt x="568" y="693"/>
                    <a:pt x="726" y="536"/>
                    <a:pt x="726" y="347"/>
                  </a:cubicBezTo>
                  <a:cubicBezTo>
                    <a:pt x="726" y="158"/>
                    <a:pt x="568" y="0"/>
                    <a:pt x="34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4" name="Google Shape;15119;p81"/>
            <p:cNvSpPr/>
            <p:nvPr/>
          </p:nvSpPr>
          <p:spPr>
            <a:xfrm>
              <a:off x="-3069900" y="2820875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47" y="693"/>
                  </a:cubicBezTo>
                  <a:cubicBezTo>
                    <a:pt x="536" y="693"/>
                    <a:pt x="693" y="536"/>
                    <a:pt x="693" y="347"/>
                  </a:cubicBezTo>
                  <a:cubicBezTo>
                    <a:pt x="693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5" name="Google Shape;15120;p81"/>
            <p:cNvSpPr/>
            <p:nvPr/>
          </p:nvSpPr>
          <p:spPr>
            <a:xfrm>
              <a:off x="-3035250" y="2820875"/>
              <a:ext cx="17350" cy="17350"/>
            </a:xfrm>
            <a:custGeom>
              <a:avLst/>
              <a:gdLst/>
              <a:ahLst/>
              <a:cxnLst/>
              <a:rect l="l" t="t" r="r" b="b"/>
              <a:pathLst>
                <a:path w="694" h="694" extrusionOk="0">
                  <a:moveTo>
                    <a:pt x="347" y="0"/>
                  </a:moveTo>
                  <a:cubicBezTo>
                    <a:pt x="158" y="0"/>
                    <a:pt x="0" y="158"/>
                    <a:pt x="0" y="347"/>
                  </a:cubicBezTo>
                  <a:cubicBezTo>
                    <a:pt x="0" y="536"/>
                    <a:pt x="158" y="693"/>
                    <a:pt x="347" y="693"/>
                  </a:cubicBezTo>
                  <a:cubicBezTo>
                    <a:pt x="536" y="693"/>
                    <a:pt x="693" y="536"/>
                    <a:pt x="693" y="347"/>
                  </a:cubicBezTo>
                  <a:cubicBezTo>
                    <a:pt x="693" y="158"/>
                    <a:pt x="536" y="0"/>
                    <a:pt x="347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6" name="Google Shape;15121;p81"/>
            <p:cNvSpPr/>
            <p:nvPr/>
          </p:nvSpPr>
          <p:spPr>
            <a:xfrm>
              <a:off x="-3002175" y="2820875"/>
              <a:ext cx="121325" cy="17350"/>
            </a:xfrm>
            <a:custGeom>
              <a:avLst/>
              <a:gdLst/>
              <a:ahLst/>
              <a:cxnLst/>
              <a:rect l="l" t="t" r="r" b="b"/>
              <a:pathLst>
                <a:path w="4853" h="694" extrusionOk="0">
                  <a:moveTo>
                    <a:pt x="347" y="0"/>
                  </a:moveTo>
                  <a:cubicBezTo>
                    <a:pt x="158" y="0"/>
                    <a:pt x="1" y="158"/>
                    <a:pt x="1" y="347"/>
                  </a:cubicBezTo>
                  <a:cubicBezTo>
                    <a:pt x="32" y="536"/>
                    <a:pt x="190" y="693"/>
                    <a:pt x="347" y="693"/>
                  </a:cubicBezTo>
                  <a:lnTo>
                    <a:pt x="4506" y="693"/>
                  </a:lnTo>
                  <a:cubicBezTo>
                    <a:pt x="4695" y="693"/>
                    <a:pt x="4852" y="536"/>
                    <a:pt x="4852" y="347"/>
                  </a:cubicBezTo>
                  <a:cubicBezTo>
                    <a:pt x="4852" y="158"/>
                    <a:pt x="4695" y="0"/>
                    <a:pt x="4506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7" name="Google Shape;15122;p81"/>
            <p:cNvSpPr/>
            <p:nvPr/>
          </p:nvSpPr>
          <p:spPr>
            <a:xfrm>
              <a:off x="-2948625" y="2907300"/>
              <a:ext cx="52025" cy="85300"/>
            </a:xfrm>
            <a:custGeom>
              <a:avLst/>
              <a:gdLst/>
              <a:ahLst/>
              <a:cxnLst/>
              <a:rect l="l" t="t" r="r" b="b"/>
              <a:pathLst>
                <a:path w="2081" h="3412" extrusionOk="0">
                  <a:moveTo>
                    <a:pt x="347" y="1"/>
                  </a:moveTo>
                  <a:cubicBezTo>
                    <a:pt x="261" y="1"/>
                    <a:pt x="174" y="24"/>
                    <a:pt x="127" y="72"/>
                  </a:cubicBezTo>
                  <a:cubicBezTo>
                    <a:pt x="1" y="198"/>
                    <a:pt x="1" y="450"/>
                    <a:pt x="127" y="544"/>
                  </a:cubicBezTo>
                  <a:lnTo>
                    <a:pt x="1261" y="1710"/>
                  </a:lnTo>
                  <a:lnTo>
                    <a:pt x="127" y="2844"/>
                  </a:lnTo>
                  <a:cubicBezTo>
                    <a:pt x="1" y="2970"/>
                    <a:pt x="1" y="3191"/>
                    <a:pt x="127" y="3317"/>
                  </a:cubicBezTo>
                  <a:cubicBezTo>
                    <a:pt x="174" y="3380"/>
                    <a:pt x="261" y="3411"/>
                    <a:pt x="347" y="3411"/>
                  </a:cubicBezTo>
                  <a:cubicBezTo>
                    <a:pt x="434" y="3411"/>
                    <a:pt x="521" y="3380"/>
                    <a:pt x="568" y="3317"/>
                  </a:cubicBezTo>
                  <a:lnTo>
                    <a:pt x="1954" y="1930"/>
                  </a:lnTo>
                  <a:cubicBezTo>
                    <a:pt x="2080" y="1804"/>
                    <a:pt x="2080" y="1584"/>
                    <a:pt x="1954" y="1458"/>
                  </a:cubicBezTo>
                  <a:lnTo>
                    <a:pt x="568" y="72"/>
                  </a:lnTo>
                  <a:cubicBezTo>
                    <a:pt x="521" y="24"/>
                    <a:pt x="434" y="1"/>
                    <a:pt x="347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8" name="Google Shape;15123;p81"/>
            <p:cNvSpPr/>
            <p:nvPr/>
          </p:nvSpPr>
          <p:spPr>
            <a:xfrm>
              <a:off x="-3088025" y="2907300"/>
              <a:ext cx="53575" cy="85300"/>
            </a:xfrm>
            <a:custGeom>
              <a:avLst/>
              <a:gdLst/>
              <a:ahLst/>
              <a:cxnLst/>
              <a:rect l="l" t="t" r="r" b="b"/>
              <a:pathLst>
                <a:path w="2143" h="3412" extrusionOk="0">
                  <a:moveTo>
                    <a:pt x="1749" y="1"/>
                  </a:moveTo>
                  <a:cubicBezTo>
                    <a:pt x="1662" y="1"/>
                    <a:pt x="1576" y="24"/>
                    <a:pt x="1513" y="72"/>
                  </a:cubicBezTo>
                  <a:lnTo>
                    <a:pt x="127" y="1458"/>
                  </a:lnTo>
                  <a:cubicBezTo>
                    <a:pt x="1" y="1584"/>
                    <a:pt x="1" y="1804"/>
                    <a:pt x="127" y="1930"/>
                  </a:cubicBezTo>
                  <a:lnTo>
                    <a:pt x="1513" y="3317"/>
                  </a:lnTo>
                  <a:cubicBezTo>
                    <a:pt x="1576" y="3380"/>
                    <a:pt x="1662" y="3411"/>
                    <a:pt x="1749" y="3411"/>
                  </a:cubicBezTo>
                  <a:cubicBezTo>
                    <a:pt x="1836" y="3411"/>
                    <a:pt x="1922" y="3380"/>
                    <a:pt x="1985" y="3317"/>
                  </a:cubicBezTo>
                  <a:cubicBezTo>
                    <a:pt x="2111" y="3191"/>
                    <a:pt x="2111" y="2970"/>
                    <a:pt x="1985" y="2844"/>
                  </a:cubicBezTo>
                  <a:lnTo>
                    <a:pt x="851" y="1710"/>
                  </a:lnTo>
                  <a:lnTo>
                    <a:pt x="1985" y="544"/>
                  </a:lnTo>
                  <a:cubicBezTo>
                    <a:pt x="2143" y="450"/>
                    <a:pt x="2143" y="198"/>
                    <a:pt x="1985" y="72"/>
                  </a:cubicBezTo>
                  <a:cubicBezTo>
                    <a:pt x="1922" y="24"/>
                    <a:pt x="1836" y="1"/>
                    <a:pt x="1749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39" name="Google Shape;15124;p81"/>
            <p:cNvSpPr/>
            <p:nvPr/>
          </p:nvSpPr>
          <p:spPr>
            <a:xfrm>
              <a:off x="-3019500" y="2888975"/>
              <a:ext cx="54375" cy="119400"/>
            </a:xfrm>
            <a:custGeom>
              <a:avLst/>
              <a:gdLst/>
              <a:ahLst/>
              <a:cxnLst/>
              <a:rect l="l" t="t" r="r" b="b"/>
              <a:pathLst>
                <a:path w="2175" h="4776" extrusionOk="0">
                  <a:moveTo>
                    <a:pt x="1778" y="0"/>
                  </a:moveTo>
                  <a:cubicBezTo>
                    <a:pt x="1617" y="0"/>
                    <a:pt x="1501" y="108"/>
                    <a:pt x="1450" y="237"/>
                  </a:cubicBezTo>
                  <a:lnTo>
                    <a:pt x="63" y="4333"/>
                  </a:lnTo>
                  <a:cubicBezTo>
                    <a:pt x="0" y="4522"/>
                    <a:pt x="95" y="4680"/>
                    <a:pt x="253" y="4743"/>
                  </a:cubicBezTo>
                  <a:cubicBezTo>
                    <a:pt x="305" y="4765"/>
                    <a:pt x="354" y="4775"/>
                    <a:pt x="399" y="4775"/>
                  </a:cubicBezTo>
                  <a:cubicBezTo>
                    <a:pt x="543" y="4775"/>
                    <a:pt x="646" y="4674"/>
                    <a:pt x="694" y="4554"/>
                  </a:cubicBezTo>
                  <a:lnTo>
                    <a:pt x="2080" y="458"/>
                  </a:lnTo>
                  <a:cubicBezTo>
                    <a:pt x="2174" y="300"/>
                    <a:pt x="2048" y="111"/>
                    <a:pt x="1891" y="17"/>
                  </a:cubicBezTo>
                  <a:cubicBezTo>
                    <a:pt x="1851" y="6"/>
                    <a:pt x="1813" y="0"/>
                    <a:pt x="1778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0" name="Google Shape;13951;p77"/>
          <p:cNvGrpSpPr/>
          <p:nvPr/>
        </p:nvGrpSpPr>
        <p:grpSpPr>
          <a:xfrm>
            <a:off x="7696838" y="4293841"/>
            <a:ext cx="559402" cy="547509"/>
            <a:chOff x="-63669700" y="2646600"/>
            <a:chExt cx="324525" cy="317625"/>
          </a:xfrm>
          <a:solidFill>
            <a:schemeClr val="tx1"/>
          </a:solidFill>
        </p:grpSpPr>
        <p:sp>
          <p:nvSpPr>
            <p:cNvPr id="41" name="Google Shape;13952;p77"/>
            <p:cNvSpPr/>
            <p:nvPr/>
          </p:nvSpPr>
          <p:spPr>
            <a:xfrm>
              <a:off x="-63669700" y="2646600"/>
              <a:ext cx="324525" cy="317550"/>
            </a:xfrm>
            <a:custGeom>
              <a:avLst/>
              <a:gdLst/>
              <a:ahLst/>
              <a:cxnLst/>
              <a:rect l="l" t="t" r="r" b="b"/>
              <a:pathLst>
                <a:path w="12981" h="12702" extrusionOk="0">
                  <a:moveTo>
                    <a:pt x="6947" y="867"/>
                  </a:moveTo>
                  <a:cubicBezTo>
                    <a:pt x="7058" y="867"/>
                    <a:pt x="7168" y="906"/>
                    <a:pt x="7247" y="985"/>
                  </a:cubicBezTo>
                  <a:cubicBezTo>
                    <a:pt x="7404" y="1143"/>
                    <a:pt x="7404" y="1426"/>
                    <a:pt x="7247" y="1584"/>
                  </a:cubicBezTo>
                  <a:lnTo>
                    <a:pt x="5199" y="3632"/>
                  </a:lnTo>
                  <a:cubicBezTo>
                    <a:pt x="5120" y="3710"/>
                    <a:pt x="5010" y="3750"/>
                    <a:pt x="4900" y="3750"/>
                  </a:cubicBezTo>
                  <a:cubicBezTo>
                    <a:pt x="4789" y="3750"/>
                    <a:pt x="4679" y="3710"/>
                    <a:pt x="4600" y="3632"/>
                  </a:cubicBezTo>
                  <a:cubicBezTo>
                    <a:pt x="4443" y="3474"/>
                    <a:pt x="4443" y="3190"/>
                    <a:pt x="4600" y="3033"/>
                  </a:cubicBezTo>
                  <a:lnTo>
                    <a:pt x="6648" y="985"/>
                  </a:lnTo>
                  <a:cubicBezTo>
                    <a:pt x="6727" y="906"/>
                    <a:pt x="6837" y="867"/>
                    <a:pt x="6947" y="867"/>
                  </a:cubicBezTo>
                  <a:close/>
                  <a:moveTo>
                    <a:pt x="7530" y="2434"/>
                  </a:moveTo>
                  <a:lnTo>
                    <a:pt x="10429" y="5364"/>
                  </a:lnTo>
                  <a:lnTo>
                    <a:pt x="8979" y="6814"/>
                  </a:lnTo>
                  <a:lnTo>
                    <a:pt x="6050" y="3884"/>
                  </a:lnTo>
                  <a:lnTo>
                    <a:pt x="7530" y="2434"/>
                  </a:lnTo>
                  <a:close/>
                  <a:moveTo>
                    <a:pt x="6648" y="5679"/>
                  </a:moveTo>
                  <a:lnTo>
                    <a:pt x="7247" y="6246"/>
                  </a:lnTo>
                  <a:lnTo>
                    <a:pt x="5482" y="8042"/>
                  </a:lnTo>
                  <a:lnTo>
                    <a:pt x="4884" y="7444"/>
                  </a:lnTo>
                  <a:lnTo>
                    <a:pt x="6648" y="5679"/>
                  </a:lnTo>
                  <a:close/>
                  <a:moveTo>
                    <a:pt x="11642" y="5561"/>
                  </a:moveTo>
                  <a:cubicBezTo>
                    <a:pt x="11752" y="5561"/>
                    <a:pt x="11862" y="5601"/>
                    <a:pt x="11941" y="5679"/>
                  </a:cubicBezTo>
                  <a:cubicBezTo>
                    <a:pt x="12098" y="5837"/>
                    <a:pt x="12098" y="6089"/>
                    <a:pt x="11941" y="6246"/>
                  </a:cubicBezTo>
                  <a:lnTo>
                    <a:pt x="9893" y="8294"/>
                  </a:lnTo>
                  <a:cubicBezTo>
                    <a:pt x="9814" y="8373"/>
                    <a:pt x="9704" y="8412"/>
                    <a:pt x="9594" y="8412"/>
                  </a:cubicBezTo>
                  <a:cubicBezTo>
                    <a:pt x="9484" y="8412"/>
                    <a:pt x="9373" y="8373"/>
                    <a:pt x="9295" y="8294"/>
                  </a:cubicBezTo>
                  <a:cubicBezTo>
                    <a:pt x="9137" y="8137"/>
                    <a:pt x="9137" y="7885"/>
                    <a:pt x="9295" y="7727"/>
                  </a:cubicBezTo>
                  <a:lnTo>
                    <a:pt x="11342" y="5679"/>
                  </a:lnTo>
                  <a:cubicBezTo>
                    <a:pt x="11421" y="5601"/>
                    <a:pt x="11531" y="5561"/>
                    <a:pt x="11642" y="5561"/>
                  </a:cubicBezTo>
                  <a:close/>
                  <a:moveTo>
                    <a:pt x="4065" y="7664"/>
                  </a:moveTo>
                  <a:lnTo>
                    <a:pt x="5230" y="8861"/>
                  </a:lnTo>
                  <a:lnTo>
                    <a:pt x="2426" y="11665"/>
                  </a:lnTo>
                  <a:cubicBezTo>
                    <a:pt x="2269" y="11823"/>
                    <a:pt x="2064" y="11902"/>
                    <a:pt x="1855" y="11902"/>
                  </a:cubicBezTo>
                  <a:cubicBezTo>
                    <a:pt x="1647" y="11902"/>
                    <a:pt x="1434" y="11823"/>
                    <a:pt x="1261" y="11665"/>
                  </a:cubicBezTo>
                  <a:cubicBezTo>
                    <a:pt x="914" y="11350"/>
                    <a:pt x="914" y="10783"/>
                    <a:pt x="1261" y="10468"/>
                  </a:cubicBezTo>
                  <a:lnTo>
                    <a:pt x="4065" y="7664"/>
                  </a:lnTo>
                  <a:close/>
                  <a:moveTo>
                    <a:pt x="6971" y="1"/>
                  </a:moveTo>
                  <a:cubicBezTo>
                    <a:pt x="6648" y="1"/>
                    <a:pt x="6317" y="119"/>
                    <a:pt x="6050" y="355"/>
                  </a:cubicBezTo>
                  <a:lnTo>
                    <a:pt x="4002" y="2403"/>
                  </a:lnTo>
                  <a:cubicBezTo>
                    <a:pt x="3529" y="2875"/>
                    <a:pt x="3529" y="3663"/>
                    <a:pt x="4002" y="4167"/>
                  </a:cubicBezTo>
                  <a:cubicBezTo>
                    <a:pt x="4258" y="4424"/>
                    <a:pt x="4564" y="4544"/>
                    <a:pt x="4874" y="4544"/>
                  </a:cubicBezTo>
                  <a:cubicBezTo>
                    <a:pt x="5058" y="4544"/>
                    <a:pt x="5243" y="4501"/>
                    <a:pt x="5419" y="4419"/>
                  </a:cubicBezTo>
                  <a:lnTo>
                    <a:pt x="6081" y="5018"/>
                  </a:lnTo>
                  <a:lnTo>
                    <a:pt x="4285" y="6814"/>
                  </a:lnTo>
                  <a:cubicBezTo>
                    <a:pt x="4206" y="6735"/>
                    <a:pt x="4096" y="6695"/>
                    <a:pt x="3990" y="6695"/>
                  </a:cubicBezTo>
                  <a:cubicBezTo>
                    <a:pt x="3884" y="6695"/>
                    <a:pt x="3781" y="6735"/>
                    <a:pt x="3718" y="6814"/>
                  </a:cubicBezTo>
                  <a:lnTo>
                    <a:pt x="631" y="9869"/>
                  </a:lnTo>
                  <a:cubicBezTo>
                    <a:pt x="1" y="10500"/>
                    <a:pt x="1" y="11571"/>
                    <a:pt x="631" y="12201"/>
                  </a:cubicBezTo>
                  <a:cubicBezTo>
                    <a:pt x="965" y="12536"/>
                    <a:pt x="1405" y="12701"/>
                    <a:pt x="1840" y="12701"/>
                  </a:cubicBezTo>
                  <a:cubicBezTo>
                    <a:pt x="2264" y="12701"/>
                    <a:pt x="2682" y="12544"/>
                    <a:pt x="2994" y="12232"/>
                  </a:cubicBezTo>
                  <a:lnTo>
                    <a:pt x="6050" y="9176"/>
                  </a:lnTo>
                  <a:cubicBezTo>
                    <a:pt x="6207" y="9019"/>
                    <a:pt x="6207" y="8735"/>
                    <a:pt x="6050" y="8578"/>
                  </a:cubicBezTo>
                  <a:lnTo>
                    <a:pt x="7845" y="6814"/>
                  </a:lnTo>
                  <a:lnTo>
                    <a:pt x="8475" y="7444"/>
                  </a:lnTo>
                  <a:cubicBezTo>
                    <a:pt x="8255" y="7853"/>
                    <a:pt x="8318" y="8452"/>
                    <a:pt x="8696" y="8861"/>
                  </a:cubicBezTo>
                  <a:cubicBezTo>
                    <a:pt x="8932" y="9098"/>
                    <a:pt x="9247" y="9216"/>
                    <a:pt x="9566" y="9216"/>
                  </a:cubicBezTo>
                  <a:cubicBezTo>
                    <a:pt x="9885" y="9216"/>
                    <a:pt x="10208" y="9098"/>
                    <a:pt x="10460" y="8861"/>
                  </a:cubicBezTo>
                  <a:lnTo>
                    <a:pt x="12508" y="6814"/>
                  </a:lnTo>
                  <a:cubicBezTo>
                    <a:pt x="12981" y="6341"/>
                    <a:pt x="12981" y="5553"/>
                    <a:pt x="12508" y="5018"/>
                  </a:cubicBezTo>
                  <a:cubicBezTo>
                    <a:pt x="12274" y="4784"/>
                    <a:pt x="11979" y="4670"/>
                    <a:pt x="11669" y="4670"/>
                  </a:cubicBezTo>
                  <a:cubicBezTo>
                    <a:pt x="11479" y="4670"/>
                    <a:pt x="11282" y="4713"/>
                    <a:pt x="11090" y="4797"/>
                  </a:cubicBezTo>
                  <a:lnTo>
                    <a:pt x="8066" y="1773"/>
                  </a:lnTo>
                  <a:cubicBezTo>
                    <a:pt x="8255" y="1332"/>
                    <a:pt x="8223" y="733"/>
                    <a:pt x="7845" y="355"/>
                  </a:cubicBezTo>
                  <a:cubicBezTo>
                    <a:pt x="7609" y="119"/>
                    <a:pt x="7294" y="1"/>
                    <a:pt x="6971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13953;p77"/>
            <p:cNvSpPr/>
            <p:nvPr/>
          </p:nvSpPr>
          <p:spPr>
            <a:xfrm>
              <a:off x="-63532650" y="2901200"/>
              <a:ext cx="185900" cy="63025"/>
            </a:xfrm>
            <a:custGeom>
              <a:avLst/>
              <a:gdLst/>
              <a:ahLst/>
              <a:cxnLst/>
              <a:rect l="l" t="t" r="r" b="b"/>
              <a:pathLst>
                <a:path w="7436" h="2521" extrusionOk="0">
                  <a:moveTo>
                    <a:pt x="5356" y="851"/>
                  </a:moveTo>
                  <a:cubicBezTo>
                    <a:pt x="5577" y="851"/>
                    <a:pt x="5734" y="1040"/>
                    <a:pt x="5734" y="1261"/>
                  </a:cubicBezTo>
                  <a:lnTo>
                    <a:pt x="5734" y="1702"/>
                  </a:lnTo>
                  <a:lnTo>
                    <a:pt x="1607" y="1702"/>
                  </a:lnTo>
                  <a:lnTo>
                    <a:pt x="1607" y="1261"/>
                  </a:lnTo>
                  <a:cubicBezTo>
                    <a:pt x="1607" y="1040"/>
                    <a:pt x="1796" y="851"/>
                    <a:pt x="2048" y="851"/>
                  </a:cubicBezTo>
                  <a:close/>
                  <a:moveTo>
                    <a:pt x="2048" y="1"/>
                  </a:moveTo>
                  <a:cubicBezTo>
                    <a:pt x="1355" y="1"/>
                    <a:pt x="788" y="568"/>
                    <a:pt x="788" y="1261"/>
                  </a:cubicBezTo>
                  <a:lnTo>
                    <a:pt x="788" y="1702"/>
                  </a:lnTo>
                  <a:lnTo>
                    <a:pt x="378" y="1702"/>
                  </a:lnTo>
                  <a:cubicBezTo>
                    <a:pt x="158" y="1702"/>
                    <a:pt x="0" y="1891"/>
                    <a:pt x="0" y="2111"/>
                  </a:cubicBezTo>
                  <a:cubicBezTo>
                    <a:pt x="0" y="2332"/>
                    <a:pt x="189" y="2521"/>
                    <a:pt x="378" y="2521"/>
                  </a:cubicBezTo>
                  <a:lnTo>
                    <a:pt x="6995" y="2521"/>
                  </a:lnTo>
                  <a:cubicBezTo>
                    <a:pt x="7247" y="2521"/>
                    <a:pt x="7436" y="2332"/>
                    <a:pt x="7436" y="2111"/>
                  </a:cubicBezTo>
                  <a:cubicBezTo>
                    <a:pt x="7404" y="1891"/>
                    <a:pt x="7184" y="1702"/>
                    <a:pt x="6963" y="1702"/>
                  </a:cubicBezTo>
                  <a:lnTo>
                    <a:pt x="6553" y="1702"/>
                  </a:lnTo>
                  <a:lnTo>
                    <a:pt x="6553" y="1261"/>
                  </a:lnTo>
                  <a:cubicBezTo>
                    <a:pt x="6553" y="599"/>
                    <a:pt x="6018" y="1"/>
                    <a:pt x="5356" y="1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pic>
        <p:nvPicPr>
          <p:cNvPr id="4" name="Рисунок 3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811524" y="3779131"/>
            <a:ext cx="990391" cy="9661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146828763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title"/>
          </p:nvPr>
        </p:nvSpPr>
        <p:spPr>
          <a:xfrm>
            <a:off x="479376" y="2168860"/>
            <a:ext cx="2919009" cy="1095507"/>
          </a:xfrm>
        </p:spPr>
        <p:txBody>
          <a:bodyPr>
            <a:noAutofit/>
          </a:bodyPr>
          <a:lstStyle/>
          <a:p>
            <a:r>
              <a:rPr lang="ru-RU" sz="3600" dirty="0">
                <a:sym typeface="Roboto" pitchFamily="2" charset="0"/>
              </a:rPr>
              <a:t>Биржа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в цифрах</a:t>
            </a:r>
          </a:p>
        </p:txBody>
      </p:sp>
      <p:grpSp>
        <p:nvGrpSpPr>
          <p:cNvPr id="15" name="Google Shape;15201;p81"/>
          <p:cNvGrpSpPr/>
          <p:nvPr/>
        </p:nvGrpSpPr>
        <p:grpSpPr>
          <a:xfrm>
            <a:off x="849633" y="4872527"/>
            <a:ext cx="677780" cy="679581"/>
            <a:chOff x="-1333200" y="2770450"/>
            <a:chExt cx="291450" cy="292225"/>
          </a:xfrm>
        </p:grpSpPr>
        <p:sp>
          <p:nvSpPr>
            <p:cNvPr id="16" name="Google Shape;15202;p81"/>
            <p:cNvSpPr/>
            <p:nvPr/>
          </p:nvSpPr>
          <p:spPr>
            <a:xfrm>
              <a:off x="-1299325" y="2808250"/>
              <a:ext cx="222925" cy="134725"/>
            </a:xfrm>
            <a:custGeom>
              <a:avLst/>
              <a:gdLst/>
              <a:ahLst/>
              <a:cxnLst/>
              <a:rect l="l" t="t" r="r" b="b"/>
              <a:pathLst>
                <a:path w="8917" h="5389" extrusionOk="0">
                  <a:moveTo>
                    <a:pt x="7877" y="631"/>
                  </a:moveTo>
                  <a:cubicBezTo>
                    <a:pt x="8066" y="631"/>
                    <a:pt x="8223" y="789"/>
                    <a:pt x="8223" y="978"/>
                  </a:cubicBezTo>
                  <a:cubicBezTo>
                    <a:pt x="8223" y="1167"/>
                    <a:pt x="8066" y="1324"/>
                    <a:pt x="7877" y="1324"/>
                  </a:cubicBezTo>
                  <a:cubicBezTo>
                    <a:pt x="7656" y="1324"/>
                    <a:pt x="7498" y="1167"/>
                    <a:pt x="7498" y="978"/>
                  </a:cubicBezTo>
                  <a:cubicBezTo>
                    <a:pt x="7498" y="789"/>
                    <a:pt x="7656" y="631"/>
                    <a:pt x="7877" y="631"/>
                  </a:cubicBezTo>
                  <a:close/>
                  <a:moveTo>
                    <a:pt x="3056" y="1293"/>
                  </a:moveTo>
                  <a:cubicBezTo>
                    <a:pt x="3245" y="1293"/>
                    <a:pt x="3403" y="1450"/>
                    <a:pt x="3403" y="1639"/>
                  </a:cubicBezTo>
                  <a:cubicBezTo>
                    <a:pt x="3403" y="1828"/>
                    <a:pt x="3245" y="1986"/>
                    <a:pt x="3056" y="1986"/>
                  </a:cubicBezTo>
                  <a:cubicBezTo>
                    <a:pt x="2867" y="1986"/>
                    <a:pt x="2710" y="1828"/>
                    <a:pt x="2710" y="1639"/>
                  </a:cubicBezTo>
                  <a:cubicBezTo>
                    <a:pt x="2741" y="1450"/>
                    <a:pt x="2899" y="1293"/>
                    <a:pt x="3056" y="1293"/>
                  </a:cubicBezTo>
                  <a:close/>
                  <a:moveTo>
                    <a:pt x="5797" y="3340"/>
                  </a:moveTo>
                  <a:cubicBezTo>
                    <a:pt x="6018" y="3340"/>
                    <a:pt x="6175" y="3498"/>
                    <a:pt x="6175" y="3687"/>
                  </a:cubicBezTo>
                  <a:cubicBezTo>
                    <a:pt x="6175" y="3876"/>
                    <a:pt x="6018" y="4034"/>
                    <a:pt x="5797" y="4034"/>
                  </a:cubicBezTo>
                  <a:cubicBezTo>
                    <a:pt x="5608" y="4034"/>
                    <a:pt x="5451" y="3876"/>
                    <a:pt x="5451" y="3687"/>
                  </a:cubicBezTo>
                  <a:cubicBezTo>
                    <a:pt x="5451" y="3498"/>
                    <a:pt x="5608" y="3340"/>
                    <a:pt x="5797" y="3340"/>
                  </a:cubicBezTo>
                  <a:close/>
                  <a:moveTo>
                    <a:pt x="1008" y="4034"/>
                  </a:moveTo>
                  <a:cubicBezTo>
                    <a:pt x="1198" y="4034"/>
                    <a:pt x="1355" y="4191"/>
                    <a:pt x="1355" y="4412"/>
                  </a:cubicBezTo>
                  <a:cubicBezTo>
                    <a:pt x="1355" y="4601"/>
                    <a:pt x="1198" y="4758"/>
                    <a:pt x="1008" y="4758"/>
                  </a:cubicBezTo>
                  <a:cubicBezTo>
                    <a:pt x="819" y="4758"/>
                    <a:pt x="662" y="4601"/>
                    <a:pt x="662" y="4412"/>
                  </a:cubicBezTo>
                  <a:cubicBezTo>
                    <a:pt x="662" y="4191"/>
                    <a:pt x="819" y="4034"/>
                    <a:pt x="1008" y="4034"/>
                  </a:cubicBezTo>
                  <a:close/>
                  <a:moveTo>
                    <a:pt x="7908" y="1"/>
                  </a:moveTo>
                  <a:cubicBezTo>
                    <a:pt x="7341" y="1"/>
                    <a:pt x="6868" y="474"/>
                    <a:pt x="6868" y="1009"/>
                  </a:cubicBezTo>
                  <a:cubicBezTo>
                    <a:pt x="6868" y="1198"/>
                    <a:pt x="6963" y="1419"/>
                    <a:pt x="7026" y="1576"/>
                  </a:cubicBezTo>
                  <a:lnTo>
                    <a:pt x="6112" y="2742"/>
                  </a:lnTo>
                  <a:cubicBezTo>
                    <a:pt x="6032" y="2722"/>
                    <a:pt x="5943" y="2711"/>
                    <a:pt x="5850" y="2711"/>
                  </a:cubicBezTo>
                  <a:cubicBezTo>
                    <a:pt x="5650" y="2711"/>
                    <a:pt x="5434" y="2760"/>
                    <a:pt x="5262" y="2868"/>
                  </a:cubicBezTo>
                  <a:lnTo>
                    <a:pt x="4096" y="1954"/>
                  </a:lnTo>
                  <a:cubicBezTo>
                    <a:pt x="4127" y="1891"/>
                    <a:pt x="4127" y="1765"/>
                    <a:pt x="4127" y="1639"/>
                  </a:cubicBezTo>
                  <a:cubicBezTo>
                    <a:pt x="4127" y="1104"/>
                    <a:pt x="3655" y="631"/>
                    <a:pt x="3088" y="631"/>
                  </a:cubicBezTo>
                  <a:cubicBezTo>
                    <a:pt x="2552" y="631"/>
                    <a:pt x="2080" y="1104"/>
                    <a:pt x="2080" y="1639"/>
                  </a:cubicBezTo>
                  <a:cubicBezTo>
                    <a:pt x="2080" y="1828"/>
                    <a:pt x="2143" y="2049"/>
                    <a:pt x="2237" y="2206"/>
                  </a:cubicBezTo>
                  <a:lnTo>
                    <a:pt x="1324" y="3372"/>
                  </a:lnTo>
                  <a:cubicBezTo>
                    <a:pt x="1261" y="3340"/>
                    <a:pt x="1134" y="3340"/>
                    <a:pt x="1008" y="3340"/>
                  </a:cubicBezTo>
                  <a:cubicBezTo>
                    <a:pt x="441" y="3340"/>
                    <a:pt x="0" y="3813"/>
                    <a:pt x="0" y="4349"/>
                  </a:cubicBezTo>
                  <a:cubicBezTo>
                    <a:pt x="0" y="4947"/>
                    <a:pt x="441" y="5388"/>
                    <a:pt x="1008" y="5388"/>
                  </a:cubicBezTo>
                  <a:cubicBezTo>
                    <a:pt x="1576" y="5388"/>
                    <a:pt x="2017" y="4916"/>
                    <a:pt x="2017" y="4349"/>
                  </a:cubicBezTo>
                  <a:cubicBezTo>
                    <a:pt x="2017" y="4160"/>
                    <a:pt x="1954" y="3971"/>
                    <a:pt x="1859" y="3813"/>
                  </a:cubicBezTo>
                  <a:lnTo>
                    <a:pt x="2773" y="2616"/>
                  </a:lnTo>
                  <a:cubicBezTo>
                    <a:pt x="2875" y="2650"/>
                    <a:pt x="2980" y="2667"/>
                    <a:pt x="3087" y="2667"/>
                  </a:cubicBezTo>
                  <a:cubicBezTo>
                    <a:pt x="3278" y="2667"/>
                    <a:pt x="3473" y="2611"/>
                    <a:pt x="3655" y="2490"/>
                  </a:cubicBezTo>
                  <a:lnTo>
                    <a:pt x="4821" y="3403"/>
                  </a:lnTo>
                  <a:cubicBezTo>
                    <a:pt x="4789" y="3498"/>
                    <a:pt x="4789" y="3624"/>
                    <a:pt x="4789" y="3719"/>
                  </a:cubicBezTo>
                  <a:cubicBezTo>
                    <a:pt x="4789" y="4286"/>
                    <a:pt x="5262" y="4758"/>
                    <a:pt x="5797" y="4758"/>
                  </a:cubicBezTo>
                  <a:cubicBezTo>
                    <a:pt x="6364" y="4758"/>
                    <a:pt x="6837" y="4286"/>
                    <a:pt x="6837" y="3719"/>
                  </a:cubicBezTo>
                  <a:cubicBezTo>
                    <a:pt x="6837" y="3529"/>
                    <a:pt x="6742" y="3340"/>
                    <a:pt x="6679" y="3183"/>
                  </a:cubicBezTo>
                  <a:lnTo>
                    <a:pt x="7593" y="1986"/>
                  </a:lnTo>
                  <a:cubicBezTo>
                    <a:pt x="7656" y="2049"/>
                    <a:pt x="7782" y="2049"/>
                    <a:pt x="7908" y="2049"/>
                  </a:cubicBezTo>
                  <a:cubicBezTo>
                    <a:pt x="8444" y="2049"/>
                    <a:pt x="8916" y="1576"/>
                    <a:pt x="8916" y="1009"/>
                  </a:cubicBezTo>
                  <a:cubicBezTo>
                    <a:pt x="8916" y="474"/>
                    <a:pt x="8444" y="1"/>
                    <a:pt x="7908" y="1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17" name="Google Shape;15203;p81"/>
            <p:cNvSpPr/>
            <p:nvPr/>
          </p:nvSpPr>
          <p:spPr>
            <a:xfrm>
              <a:off x="-1333200" y="2770450"/>
              <a:ext cx="291450" cy="292225"/>
            </a:xfrm>
            <a:custGeom>
              <a:avLst/>
              <a:gdLst/>
              <a:ahLst/>
              <a:cxnLst/>
              <a:rect l="l" t="t" r="r" b="b"/>
              <a:pathLst>
                <a:path w="11658" h="11689" extrusionOk="0">
                  <a:moveTo>
                    <a:pt x="10586" y="725"/>
                  </a:moveTo>
                  <a:cubicBezTo>
                    <a:pt x="10807" y="725"/>
                    <a:pt x="10964" y="883"/>
                    <a:pt x="10964" y="1072"/>
                  </a:cubicBezTo>
                  <a:lnTo>
                    <a:pt x="10964" y="7593"/>
                  </a:lnTo>
                  <a:lnTo>
                    <a:pt x="631" y="7593"/>
                  </a:lnTo>
                  <a:lnTo>
                    <a:pt x="631" y="1072"/>
                  </a:lnTo>
                  <a:cubicBezTo>
                    <a:pt x="662" y="883"/>
                    <a:pt x="820" y="725"/>
                    <a:pt x="977" y="725"/>
                  </a:cubicBezTo>
                  <a:close/>
                  <a:moveTo>
                    <a:pt x="10996" y="8286"/>
                  </a:moveTo>
                  <a:lnTo>
                    <a:pt x="10996" y="8633"/>
                  </a:lnTo>
                  <a:cubicBezTo>
                    <a:pt x="10996" y="8822"/>
                    <a:pt x="10838" y="8980"/>
                    <a:pt x="10618" y="8980"/>
                  </a:cubicBezTo>
                  <a:lnTo>
                    <a:pt x="1009" y="8980"/>
                  </a:lnTo>
                  <a:cubicBezTo>
                    <a:pt x="820" y="8980"/>
                    <a:pt x="662" y="8822"/>
                    <a:pt x="662" y="8633"/>
                  </a:cubicBezTo>
                  <a:lnTo>
                    <a:pt x="662" y="8286"/>
                  </a:lnTo>
                  <a:close/>
                  <a:moveTo>
                    <a:pt x="6617" y="9641"/>
                  </a:moveTo>
                  <a:lnTo>
                    <a:pt x="6932" y="11027"/>
                  </a:lnTo>
                  <a:lnTo>
                    <a:pt x="4632" y="11027"/>
                  </a:lnTo>
                  <a:lnTo>
                    <a:pt x="4947" y="9641"/>
                  </a:lnTo>
                  <a:close/>
                  <a:moveTo>
                    <a:pt x="1009" y="1"/>
                  </a:moveTo>
                  <a:cubicBezTo>
                    <a:pt x="473" y="1"/>
                    <a:pt x="1" y="473"/>
                    <a:pt x="1" y="1040"/>
                  </a:cubicBezTo>
                  <a:lnTo>
                    <a:pt x="1" y="8570"/>
                  </a:lnTo>
                  <a:cubicBezTo>
                    <a:pt x="1" y="9137"/>
                    <a:pt x="473" y="9610"/>
                    <a:pt x="1009" y="9610"/>
                  </a:cubicBezTo>
                  <a:lnTo>
                    <a:pt x="4285" y="9610"/>
                  </a:lnTo>
                  <a:lnTo>
                    <a:pt x="3970" y="10996"/>
                  </a:lnTo>
                  <a:lnTo>
                    <a:pt x="3057" y="10996"/>
                  </a:lnTo>
                  <a:cubicBezTo>
                    <a:pt x="2868" y="10996"/>
                    <a:pt x="2710" y="11153"/>
                    <a:pt x="2710" y="11342"/>
                  </a:cubicBezTo>
                  <a:cubicBezTo>
                    <a:pt x="2710" y="11531"/>
                    <a:pt x="2868" y="11689"/>
                    <a:pt x="3057" y="11689"/>
                  </a:cubicBezTo>
                  <a:lnTo>
                    <a:pt x="8538" y="11689"/>
                  </a:lnTo>
                  <a:cubicBezTo>
                    <a:pt x="8727" y="11689"/>
                    <a:pt x="8885" y="11531"/>
                    <a:pt x="8885" y="11342"/>
                  </a:cubicBezTo>
                  <a:cubicBezTo>
                    <a:pt x="8885" y="11153"/>
                    <a:pt x="8727" y="10996"/>
                    <a:pt x="8538" y="10996"/>
                  </a:cubicBezTo>
                  <a:lnTo>
                    <a:pt x="7625" y="10996"/>
                  </a:lnTo>
                  <a:lnTo>
                    <a:pt x="7310" y="9610"/>
                  </a:lnTo>
                  <a:lnTo>
                    <a:pt x="10618" y="9610"/>
                  </a:lnTo>
                  <a:cubicBezTo>
                    <a:pt x="11185" y="9610"/>
                    <a:pt x="11657" y="9137"/>
                    <a:pt x="11657" y="8570"/>
                  </a:cubicBezTo>
                  <a:lnTo>
                    <a:pt x="11657" y="1040"/>
                  </a:lnTo>
                  <a:cubicBezTo>
                    <a:pt x="11657" y="473"/>
                    <a:pt x="11185" y="1"/>
                    <a:pt x="10618" y="1"/>
                  </a:cubicBezTo>
                  <a:close/>
                </a:path>
              </a:pathLst>
            </a:custGeom>
            <a:solidFill>
              <a:schemeClr val="accent6">
                <a:lumMod val="50000"/>
              </a:schemeClr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sz="2400" b="0" i="0" u="none" strike="noStrike" kern="1200" cap="none" spc="0" normalizeH="0" baseline="0" noProof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</p:grpSp>
      <p:sp>
        <p:nvSpPr>
          <p:cNvPr id="18" name="TextBox 17"/>
          <p:cNvSpPr txBox="1"/>
          <p:nvPr/>
        </p:nvSpPr>
        <p:spPr>
          <a:xfrm>
            <a:off x="5519936" y="1903184"/>
            <a:ext cx="91364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4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9" name="TextBox 18"/>
          <p:cNvSpPr txBox="1"/>
          <p:nvPr/>
        </p:nvSpPr>
        <p:spPr>
          <a:xfrm>
            <a:off x="6271609" y="1975818"/>
            <a:ext cx="14401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млрд </a:t>
            </a:r>
            <a:b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USD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7896200" y="1975817"/>
            <a:ext cx="32403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годовой </a:t>
            </a:r>
            <a:b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товарооборот</a:t>
            </a:r>
          </a:p>
        </p:txBody>
      </p:sp>
      <p:sp>
        <p:nvSpPr>
          <p:cNvPr id="8" name="TextBox 7"/>
          <p:cNvSpPr txBox="1"/>
          <p:nvPr/>
        </p:nvSpPr>
        <p:spPr>
          <a:xfrm>
            <a:off x="5623537" y="332656"/>
            <a:ext cx="2088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1</a:t>
            </a: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7</a:t>
            </a:r>
            <a:r>
              <a: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лет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7896200" y="394210"/>
            <a:ext cx="3240360" cy="12003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успешной </a:t>
            </a:r>
            <a:b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работы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683732" y="3501008"/>
            <a:ext cx="402803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400 000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7896200" y="3748102"/>
            <a:ext cx="3240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сделок в год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3683732" y="5085184"/>
            <a:ext cx="4028037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8 000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7896200" y="5423737"/>
            <a:ext cx="3240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клиентов</a:t>
            </a:r>
          </a:p>
        </p:txBody>
      </p:sp>
    </p:spTree>
    <p:extLst>
      <p:ext uri="{BB962C8B-B14F-4D97-AF65-F5344CB8AC3E}">
        <p14:creationId xmlns:p14="http://schemas.microsoft.com/office/powerpoint/2010/main" val="2341353615"/>
      </p:ext>
    </p:extLst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14" name="Группа 13">
            <a:extLst>
              <a:ext uri="{FF2B5EF4-FFF2-40B4-BE49-F238E27FC236}">
                <a16:creationId xmlns:a16="http://schemas.microsoft.com/office/drawing/2014/main" id="{347F502F-7CF7-4370-AEB7-CEBD28F19FE6}"/>
              </a:ext>
            </a:extLst>
          </p:cNvPr>
          <p:cNvGrpSpPr/>
          <p:nvPr/>
        </p:nvGrpSpPr>
        <p:grpSpPr>
          <a:xfrm>
            <a:off x="335360" y="1412776"/>
            <a:ext cx="11195272" cy="4801716"/>
            <a:chOff x="5133319" y="1520032"/>
            <a:chExt cx="11195272" cy="4801716"/>
          </a:xfrm>
        </p:grpSpPr>
        <p:sp>
          <p:nvSpPr>
            <p:cNvPr id="16" name="Прямоугольник: скругленные углы 15">
              <a:extLst>
                <a:ext uri="{FF2B5EF4-FFF2-40B4-BE49-F238E27FC236}">
                  <a16:creationId xmlns:a16="http://schemas.microsoft.com/office/drawing/2014/main" id="{A8A8557C-9202-4189-9F3A-4021563E4791}"/>
                </a:ext>
              </a:extLst>
            </p:cNvPr>
            <p:cNvSpPr/>
            <p:nvPr/>
          </p:nvSpPr>
          <p:spPr>
            <a:xfrm>
              <a:off x="5133319" y="1520032"/>
              <a:ext cx="3744416" cy="4801716"/>
            </a:xfrm>
            <a:prstGeom prst="roundRect">
              <a:avLst>
                <a:gd name="adj" fmla="val 2083"/>
              </a:avLst>
            </a:prstGeom>
            <a:gradFill flip="none" rotWithShape="1">
              <a:gsLst>
                <a:gs pos="25124">
                  <a:srgbClr val="4B7331"/>
                </a:gs>
                <a:gs pos="80000">
                  <a:schemeClr val="accent5">
                    <a:lumMod val="89000"/>
                  </a:schemeClr>
                </a:gs>
                <a:gs pos="74000">
                  <a:schemeClr val="accent5">
                    <a:lumMod val="75000"/>
                  </a:schemeClr>
                </a:gs>
                <a:gs pos="81000">
                  <a:srgbClr val="385625"/>
                </a:gs>
              </a:gsLst>
              <a:path path="circle">
                <a:fillToRect l="100000" t="100000"/>
              </a:path>
              <a:tileRect r="-100000" b="-100000"/>
            </a:gra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27" name="Rectangle 23">
              <a:extLst>
                <a:ext uri="{FF2B5EF4-FFF2-40B4-BE49-F238E27FC236}">
                  <a16:creationId xmlns:a16="http://schemas.microsoft.com/office/drawing/2014/main" id="{DB4D98F6-E15A-4F92-B871-EDE94813F050}"/>
                </a:ext>
              </a:extLst>
            </p:cNvPr>
            <p:cNvSpPr/>
            <p:nvPr/>
          </p:nvSpPr>
          <p:spPr>
            <a:xfrm>
              <a:off x="5799876" y="1713367"/>
              <a:ext cx="1379042" cy="1379040"/>
            </a:xfrm>
            <a:prstGeom prst="rect">
              <a:avLst/>
            </a:prstGeom>
            <a:noFill/>
            <a:ln w="38100"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endParaRPr>
            </a:p>
          </p:txBody>
        </p:sp>
        <p:sp>
          <p:nvSpPr>
            <p:cNvPr id="28" name="Rectangle 24">
              <a:extLst>
                <a:ext uri="{FF2B5EF4-FFF2-40B4-BE49-F238E27FC236}">
                  <a16:creationId xmlns:a16="http://schemas.microsoft.com/office/drawing/2014/main" id="{24319D5A-D5FA-4F0E-A1A3-6EEEB6C81553}"/>
                </a:ext>
              </a:extLst>
            </p:cNvPr>
            <p:cNvSpPr/>
            <p:nvPr/>
          </p:nvSpPr>
          <p:spPr>
            <a:xfrm>
              <a:off x="5506219" y="2298290"/>
              <a:ext cx="837760" cy="1269266"/>
            </a:xfrm>
            <a:prstGeom prst="rect">
              <a:avLst/>
            </a:prstGeom>
            <a:solidFill>
              <a:srgbClr val="7BA85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52A2F4E6-1005-4948-AFB4-7041D02410C1}"/>
                </a:ext>
              </a:extLst>
            </p:cNvPr>
            <p:cNvSpPr txBox="1"/>
            <p:nvPr/>
          </p:nvSpPr>
          <p:spPr>
            <a:xfrm>
              <a:off x="5305216" y="2402887"/>
              <a:ext cx="2228116" cy="46166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400" b="1" i="0" u="none" strike="noStrike" kern="1200" cap="none" spc="0" normalizeH="0" baseline="0" noProof="0" dirty="0">
                  <a:ln>
                    <a:solidFill>
                      <a:srgbClr val="4D7532"/>
                    </a:solidFill>
                  </a:ln>
                  <a:solidFill>
                    <a:prstClr val="white"/>
                  </a:solidFill>
                  <a:effectLst/>
                  <a:uLnTx/>
                  <a:uFillTx/>
                  <a:latin typeface="Arial" panose="020B0604020202020204" pitchFamily="34" charset="0"/>
                  <a:ea typeface="Roboto" pitchFamily="2" charset="0"/>
                  <a:cs typeface="Lato" charset="0"/>
                  <a:sym typeface="Roboto" pitchFamily="2" charset="0"/>
                </a:rPr>
                <a:t>КОНТАКТЫ</a:t>
              </a:r>
              <a:endParaRPr kumimoji="0" lang="en-US" sz="2400" b="1" i="0" u="none" strike="noStrike" kern="1200" cap="none" spc="0" normalizeH="0" baseline="0" noProof="0" dirty="0">
                <a:ln>
                  <a:solidFill>
                    <a:srgbClr val="4D7532"/>
                  </a:solidFill>
                </a:ln>
                <a:solidFill>
                  <a:prstClr val="white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Lato" charset="0"/>
                <a:sym typeface="Roboto" pitchFamily="2" charset="0"/>
              </a:endParaRPr>
            </a:p>
          </p:txBody>
        </p:sp>
        <p:sp>
          <p:nvSpPr>
            <p:cNvPr id="30" name="Rectangle 5">
              <a:extLst>
                <a:ext uri="{FF2B5EF4-FFF2-40B4-BE49-F238E27FC236}">
                  <a16:creationId xmlns:a16="http://schemas.microsoft.com/office/drawing/2014/main" id="{44270407-3A95-448F-A83C-59B62D6F4D24}"/>
                </a:ext>
              </a:extLst>
            </p:cNvPr>
            <p:cNvSpPr/>
            <p:nvPr/>
          </p:nvSpPr>
          <p:spPr>
            <a:xfrm>
              <a:off x="5399691" y="4069529"/>
              <a:ext cx="3132348" cy="1754326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Roboto" pitchFamily="2" charset="0"/>
                  <a:cs typeface="Lato" charset="0"/>
                  <a:sym typeface="Roboto" pitchFamily="2" charset="0"/>
                </a:rPr>
                <a:t>Республика Беларусь, </a:t>
              </a:r>
              <a:b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Roboto" pitchFamily="2" charset="0"/>
                  <a:cs typeface="Lato" charset="0"/>
                  <a:sym typeface="Roboto" pitchFamily="2" charset="0"/>
                </a:rPr>
              </a:b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Roboto" pitchFamily="2" charset="0"/>
                  <a:cs typeface="Lato" charset="0"/>
                  <a:sym typeface="Roboto" pitchFamily="2" charset="0"/>
                </a:rPr>
                <a:t>г. Минск, ул. Казинца, 2-200</a:t>
              </a:r>
            </a:p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Roboto" pitchFamily="2" charset="0"/>
                <a:cs typeface="Lato" charset="0"/>
                <a:sym typeface="Roboto" pitchFamily="2" charset="0"/>
              </a:endParaRPr>
            </a:p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Arial"/>
                <a:ea typeface="Roboto" pitchFamily="2" charset="0"/>
                <a:cs typeface="Lato" charset="0"/>
                <a:sym typeface="Roboto" pitchFamily="2" charset="0"/>
              </a:endParaRPr>
            </a:p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Roboto" pitchFamily="2" charset="0"/>
                  <a:cs typeface="Lato" charset="0"/>
                  <a:sym typeface="Roboto" pitchFamily="2" charset="0"/>
                </a:rPr>
                <a:t>Е-mail: info@butb.by  </a:t>
              </a:r>
            </a:p>
            <a:p>
              <a:pPr marL="0" marR="0" lvl="0" indent="0" algn="l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1800" b="0" i="0" u="none" strike="noStrike" kern="1200" cap="none" spc="0" normalizeH="0" baseline="0" noProof="0" dirty="0">
                  <a:ln>
                    <a:noFill/>
                  </a:ln>
                  <a:solidFill>
                    <a:prstClr val="white"/>
                  </a:solidFill>
                  <a:effectLst/>
                  <a:uLnTx/>
                  <a:uFillTx/>
                  <a:latin typeface="Arial"/>
                  <a:ea typeface="Roboto" pitchFamily="2" charset="0"/>
                  <a:cs typeface="Lato" charset="0"/>
                  <a:sym typeface="Roboto" pitchFamily="2" charset="0"/>
                </a:rPr>
                <a:t>Сайт: www.butb.by </a:t>
              </a:r>
            </a:p>
          </p:txBody>
        </p:sp>
        <p:sp>
          <p:nvSpPr>
            <p:cNvPr id="20" name="TextBox 19">
              <a:extLst>
                <a:ext uri="{FF2B5EF4-FFF2-40B4-BE49-F238E27FC236}">
                  <a16:creationId xmlns:a16="http://schemas.microsoft.com/office/drawing/2014/main" id="{EBAD5F0A-2631-4926-8C02-20379659F6C9}"/>
                </a:ext>
              </a:extLst>
            </p:cNvPr>
            <p:cNvSpPr txBox="1"/>
            <p:nvPr/>
          </p:nvSpPr>
          <p:spPr>
            <a:xfrm>
              <a:off x="9559839" y="5702192"/>
              <a:ext cx="6768752" cy="523220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pPr marL="0" marR="0" lvl="0" indent="0" algn="ctr" defTabSz="1219137" rtl="0" eaLnBrk="1" fontAlgn="auto" latinLnBrk="1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kumimoji="0" lang="ru-RU" sz="2800" b="1" i="0" u="none" strike="noStrike" kern="1200" cap="none" spc="0" normalizeH="0" baseline="0" noProof="0" dirty="0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 panose="020B0604020202020204" pitchFamily="34" charset="0"/>
                  <a:ea typeface="Arial Unicode MS"/>
                  <a:cs typeface="+mn-cs"/>
                  <a:sym typeface="Roboto" pitchFamily="2" charset="0"/>
                </a:rPr>
                <a:t>ПРИГЛАШАЕМ К СОТРУДНИЧЕСТВУ!</a:t>
              </a:r>
              <a:endParaRPr kumimoji="0" lang="en-US" sz="28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+mn-cs"/>
                <a:sym typeface="Roboto" pitchFamily="2" charset="0"/>
              </a:endParaRPr>
            </a:p>
          </p:txBody>
        </p:sp>
      </p:grpSp>
      <p:sp>
        <p:nvSpPr>
          <p:cNvPr id="32" name="TextBox 31">
            <a:extLst>
              <a:ext uri="{FF2B5EF4-FFF2-40B4-BE49-F238E27FC236}">
                <a16:creationId xmlns:a16="http://schemas.microsoft.com/office/drawing/2014/main" id="{B278EB55-36C9-441D-89D9-2C8FD5104D59}"/>
              </a:ext>
            </a:extLst>
          </p:cNvPr>
          <p:cNvSpPr txBox="1"/>
          <p:nvPr/>
        </p:nvSpPr>
        <p:spPr>
          <a:xfrm>
            <a:off x="4349639" y="3931914"/>
            <a:ext cx="35465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+375 17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309 32 07 </a:t>
            </a:r>
          </a:p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+375 29 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sym typeface="Roboto" pitchFamily="2" charset="0"/>
              </a:rPr>
              <a:t>140 03 32</a:t>
            </a:r>
          </a:p>
          <a:p>
            <a:pPr lvl="0"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Е-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mail: 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sym typeface="Roboto" pitchFamily="2" charset="0"/>
              </a:rPr>
              <a:t>m.khomich@butb.by</a:t>
            </a:r>
            <a:endParaRPr lang="ru-RU" sz="2000" dirty="0">
              <a:solidFill>
                <a:prstClr val="black"/>
              </a:solidFill>
              <a:latin typeface="Arial" panose="020B0604020202020204" pitchFamily="34" charset="0"/>
              <a:sym typeface="Roboto" pitchFamily="2" charset="0"/>
            </a:endParaRPr>
          </a:p>
        </p:txBody>
      </p:sp>
      <p:sp>
        <p:nvSpPr>
          <p:cNvPr id="33" name="Прямоугольник 32">
            <a:extLst>
              <a:ext uri="{FF2B5EF4-FFF2-40B4-BE49-F238E27FC236}">
                <a16:creationId xmlns:a16="http://schemas.microsoft.com/office/drawing/2014/main" id="{463C5894-0582-4521-A799-2CBA03062337}"/>
              </a:ext>
            </a:extLst>
          </p:cNvPr>
          <p:cNvSpPr/>
          <p:nvPr/>
        </p:nvSpPr>
        <p:spPr>
          <a:xfrm>
            <a:off x="4349639" y="2438561"/>
            <a:ext cx="3546561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Начальник управления торгов  </a:t>
            </a:r>
          </a:p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перспективными товарами</a:t>
            </a:r>
          </a:p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649941"/>
                </a:solidFill>
                <a:latin typeface="Arial" panose="020B0604020202020204" pitchFamily="34" charset="0"/>
                <a:ea typeface="Arial Unicode MS"/>
                <a:sym typeface="Roboto" pitchFamily="2" charset="0"/>
              </a:rPr>
              <a:t>ХОМИЧ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+mn-cs"/>
              <a:sym typeface="Roboto" pitchFamily="2" charset="0"/>
            </a:endParaRPr>
          </a:p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+mn-cs"/>
                <a:sym typeface="Roboto" pitchFamily="2" charset="0"/>
              </a:rPr>
              <a:t>Максим Владимирович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+mn-cs"/>
            </a:endParaRPr>
          </a:p>
        </p:txBody>
      </p:sp>
      <p:sp>
        <p:nvSpPr>
          <p:cNvPr id="34" name="TextBox 33">
            <a:extLst>
              <a:ext uri="{FF2B5EF4-FFF2-40B4-BE49-F238E27FC236}">
                <a16:creationId xmlns:a16="http://schemas.microsoft.com/office/drawing/2014/main" id="{20542D2F-D9ED-43D6-AB59-C0B1B35997AE}"/>
              </a:ext>
            </a:extLst>
          </p:cNvPr>
          <p:cNvSpPr txBox="1"/>
          <p:nvPr/>
        </p:nvSpPr>
        <p:spPr>
          <a:xfrm>
            <a:off x="4509852" y="1270980"/>
            <a:ext cx="702078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+mn-cs"/>
                <a:sym typeface="Roboto" pitchFamily="2" charset="0"/>
              </a:rPr>
              <a:t>Управление</a:t>
            </a:r>
          </a:p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+mn-cs"/>
                <a:sym typeface="Roboto" pitchFamily="2" charset="0"/>
              </a:rPr>
              <a:t>внешнеэкономической деятельности</a:t>
            </a: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F9D107-169C-454B-B808-639962B386BB}"/>
              </a:ext>
            </a:extLst>
          </p:cNvPr>
          <p:cNvSpPr txBox="1"/>
          <p:nvPr/>
        </p:nvSpPr>
        <p:spPr>
          <a:xfrm>
            <a:off x="8040216" y="3925505"/>
            <a:ext cx="3546561" cy="101566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+375 17 </a:t>
            </a: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309 37 92 </a:t>
            </a:r>
          </a:p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+375 29 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sym typeface="Roboto" pitchFamily="2" charset="0"/>
              </a:rPr>
              <a:t>198 78 80</a:t>
            </a:r>
          </a:p>
          <a:p>
            <a:pPr lvl="0">
              <a:defRPr/>
            </a:pPr>
            <a:r>
              <a:rPr kumimoji="0" lang="ru-RU" sz="2000" b="0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Е-</a:t>
            </a:r>
            <a:r>
              <a:rPr kumimoji="0" lang="en-US" sz="2000" b="0" i="0" u="none" strike="noStrike" kern="1200" cap="none" spc="0" normalizeH="0" baseline="0" noProof="0" dirty="0">
                <a:ln>
                  <a:noFill/>
                </a:ln>
                <a:solidFill>
                  <a:srgbClr val="A5A5A5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mail: </a:t>
            </a:r>
            <a:r>
              <a:rPr lang="en-US" sz="2000" dirty="0">
                <a:solidFill>
                  <a:prstClr val="black"/>
                </a:solidFill>
                <a:latin typeface="Arial" panose="020B0604020202020204" pitchFamily="34" charset="0"/>
                <a:ea typeface="Roboto" pitchFamily="2" charset="0"/>
                <a:sym typeface="Roboto" pitchFamily="2" charset="0"/>
              </a:rPr>
              <a:t>i.bezmenov@butb.by</a:t>
            </a:r>
            <a:endParaRPr kumimoji="0" lang="ru-RU" sz="20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Roboto" pitchFamily="2" charset="0"/>
              <a:cs typeface="+mn-cs"/>
              <a:sym typeface="Roboto" pitchFamily="2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4B33A521-8F61-4D98-9753-A4AB5748AB36}"/>
              </a:ext>
            </a:extLst>
          </p:cNvPr>
          <p:cNvSpPr/>
          <p:nvPr/>
        </p:nvSpPr>
        <p:spPr>
          <a:xfrm>
            <a:off x="8004212" y="2437500"/>
            <a:ext cx="4187788" cy="120032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Ведущий специалист управления</a:t>
            </a:r>
          </a:p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Roboto" pitchFamily="2" charset="0"/>
                <a:cs typeface="+mn-cs"/>
                <a:sym typeface="Roboto" pitchFamily="2" charset="0"/>
              </a:rPr>
              <a:t>внешнеэкономической деятельности</a:t>
            </a:r>
          </a:p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ru-RU" sz="2000" b="1" dirty="0">
                <a:solidFill>
                  <a:srgbClr val="649941"/>
                </a:solidFill>
                <a:latin typeface="Arial" panose="020B0604020202020204" pitchFamily="34" charset="0"/>
                <a:ea typeface="Arial Unicode MS"/>
                <a:sym typeface="Roboto" pitchFamily="2" charset="0"/>
              </a:rPr>
              <a:t>БЕЗМЕНОВ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+mn-cs"/>
              <a:sym typeface="Roboto" pitchFamily="2" charset="0"/>
            </a:endParaRPr>
          </a:p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 panose="020B0604020202020204" pitchFamily="34" charset="0"/>
                <a:ea typeface="Arial Unicode MS"/>
                <a:cs typeface="+mn-cs"/>
                <a:sym typeface="Roboto" pitchFamily="2" charset="0"/>
              </a:rPr>
              <a:t>Игорь Александрович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 panose="020B0604020202020204" pitchFamily="34" charset="0"/>
              <a:ea typeface="Arial Unicode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5639099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p14:dur="10" advClick="0"/>
    </mc:Choice>
    <mc:Fallback xmlns="">
      <p:transition advClick="0"/>
    </mc:Fallback>
  </mc:AlternateContent>
</p:sld>
</file>

<file path=ppt/slides/slide21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/>
          </p:cNvPicPr>
          <p:nvPr/>
        </p:nvPicPr>
        <p:blipFill rotWithShape="1"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1829" r="-218"/>
          <a:stretch/>
        </p:blipFill>
        <p:spPr>
          <a:xfrm>
            <a:off x="1" y="-27383"/>
            <a:ext cx="12216680" cy="6776434"/>
          </a:xfrm>
          <a:prstGeom prst="rect">
            <a:avLst/>
          </a:prstGeom>
        </p:spPr>
      </p:pic>
      <p:sp>
        <p:nvSpPr>
          <p:cNvPr id="8" name="Текст 7"/>
          <p:cNvSpPr>
            <a:spLocks noGrp="1"/>
          </p:cNvSpPr>
          <p:nvPr>
            <p:ph idx="10" sz="quarter" type="body"/>
          </p:nvPr>
        </p:nvSpPr>
        <p:spPr>
          <a:xfrm>
            <a:off x="0" y="4941167"/>
            <a:ext cx="12192000" cy="1800201"/>
          </a:xfrm>
          <a:gradFill flip="none" rotWithShape="1">
            <a:gsLst>
              <a:gs pos="0">
                <a:srgbClr val="273B19"/>
              </a:gs>
              <a:gs pos="23000">
                <a:schemeClr val="accent5">
                  <a:lumMod val="89000"/>
                </a:schemeClr>
              </a:gs>
              <a:gs pos="69000">
                <a:schemeClr val="accent5">
                  <a:lumMod val="75000"/>
                </a:schemeClr>
              </a:gs>
              <a:gs pos="97000">
                <a:srgbClr val="273B19"/>
              </a:gs>
            </a:gsLst>
            <a:path path="circle">
              <a:fillToRect l="100000" t="100000"/>
            </a:path>
            <a:tileRect b="-100000" r="-100000"/>
          </a:gradFill>
        </p:spPr>
        <p:txBody>
          <a:bodyPr/>
          <a:lstStyle/>
          <a:p>
            <a:r>
              <a:rPr dirty="0" lang="ru-RU" sz="4000">
                <a:solidFill>
                  <a:schemeClr val="bg1"/>
                </a:solidFill>
              </a:rPr>
              <a:t>БУДЬ С НАМИ – ТОРГУЙ СО </a:t>
            </a:r>
            <a:r>
              <a:rPr lang="ru-RU" sz="4000">
                <a:solidFill>
                  <a:schemeClr val="bg1"/>
                </a:solidFill>
              </a:rPr>
              <a:t>ВСЕМ МИРОМ!</a:t>
            </a:r>
            <a:endParaRPr dirty="0" lang="ru-RU" sz="4000">
              <a:solidFill>
                <a:schemeClr val="bg1"/>
              </a:solidFill>
            </a:endParaRPr>
          </a:p>
        </p:txBody>
      </p:sp>
      <p:sp>
        <p:nvSpPr>
          <p:cNvPr id="3" name="AutoShape 3"/>
          <p:cNvSpPr>
            <a:spLocks noChangeArrowheads="1" noChangeAspect="1" noTextEdit="1"/>
          </p:cNvSpPr>
          <p:nvPr/>
        </p:nvSpPr>
        <p:spPr bwMode="auto">
          <a:xfrm>
            <a:off x="4367213" y="549275"/>
            <a:ext cx="3341687" cy="3313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anchor="t" anchorCtr="0" bIns="45720" compatLnSpc="1" lIns="91440" numCol="1" rIns="91440" tIns="45720" vert="horz" wrap="square">
            <a:prstTxWarp prst="textNoShape">
              <a:avLst/>
            </a:prstTxWarp>
          </a:bodyPr>
          <a:lstStyle/>
          <a:p>
            <a:endParaRPr lang="ru-RU"/>
          </a:p>
        </p:txBody>
      </p:sp>
      <p:pic>
        <p:nvPicPr>
          <p:cNvPr id="6" name="Рисунок 5"/>
          <p:cNvPicPr>
            <a:picLocks noChangeAspect="1"/>
          </p:cNvPicPr>
          <p:nvPr/>
        </p:nvPicPr>
        <p:blipFill>
          <a:blip cstate="print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07368" y="332656"/>
            <a:ext cx="2544958" cy="70422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398030954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3600930" y="603097"/>
            <a:ext cx="208823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780</a:t>
            </a:r>
          </a:p>
        </p:txBody>
      </p:sp>
      <p:sp>
        <p:nvSpPr>
          <p:cNvPr id="20" name="TextBox 19"/>
          <p:cNvSpPr txBox="1"/>
          <p:nvPr/>
        </p:nvSpPr>
        <p:spPr>
          <a:xfrm>
            <a:off x="6647892" y="972428"/>
            <a:ext cx="1950507" cy="58477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экспорт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795365" y="2154497"/>
            <a:ext cx="286803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6 000</a:t>
            </a:r>
          </a:p>
        </p:txBody>
      </p:sp>
      <p:sp>
        <p:nvSpPr>
          <p:cNvPr id="24" name="TextBox 23"/>
          <p:cNvSpPr txBox="1"/>
          <p:nvPr/>
        </p:nvSpPr>
        <p:spPr>
          <a:xfrm>
            <a:off x="6463258" y="2360302"/>
            <a:ext cx="4316894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иностранных </a:t>
            </a:r>
            <a:endParaRPr kumimoji="0" lang="en-US" sz="28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участников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5456960" y="5242042"/>
            <a:ext cx="155489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70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7057480" y="5632020"/>
            <a:ext cx="2606548" cy="1138773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2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стран мира </a:t>
            </a:r>
          </a:p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41" name="Заголовок 1"/>
          <p:cNvSpPr>
            <a:spLocks noGrp="1"/>
          </p:cNvSpPr>
          <p:nvPr>
            <p:ph type="title"/>
          </p:nvPr>
        </p:nvSpPr>
        <p:spPr>
          <a:xfrm>
            <a:off x="186132" y="1442460"/>
            <a:ext cx="3640589" cy="1738779"/>
          </a:xfrm>
        </p:spPr>
        <p:txBody>
          <a:bodyPr>
            <a:noAutofit/>
          </a:bodyPr>
          <a:lstStyle/>
          <a:p>
            <a:r>
              <a:rPr lang="ru-RU" sz="3600" dirty="0">
                <a:sym typeface="Roboto" pitchFamily="2" charset="0"/>
              </a:rPr>
              <a:t>Ключевые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показатели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внешней 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торговли</a:t>
            </a:r>
          </a:p>
        </p:txBody>
      </p:sp>
      <p:pic>
        <p:nvPicPr>
          <p:cNvPr id="12" name="Рисунок 11">
            <a:extLst>
              <a:ext uri="{FF2B5EF4-FFF2-40B4-BE49-F238E27FC236}">
                <a16:creationId xmlns:a16="http://schemas.microsoft.com/office/drawing/2014/main" id="{7FDF1C2C-BE4D-49C6-9998-4F320F44D5B5}"/>
              </a:ext>
            </a:extLst>
          </p:cNvPr>
          <p:cNvPicPr>
            <a:picLocks noChangeAspect="1"/>
          </p:cNvPicPr>
          <p:nvPr/>
        </p:nvPicPr>
        <p:blipFill>
          <a:blip r:embed="rId3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700730" y="1923993"/>
            <a:ext cx="2514493" cy="2514493"/>
          </a:xfrm>
          <a:prstGeom prst="rect">
            <a:avLst/>
          </a:prstGeom>
        </p:spPr>
      </p:pic>
      <p:pic>
        <p:nvPicPr>
          <p:cNvPr id="13" name="Рисунок 12">
            <a:extLst>
              <a:ext uri="{FF2B5EF4-FFF2-40B4-BE49-F238E27FC236}">
                <a16:creationId xmlns:a16="http://schemas.microsoft.com/office/drawing/2014/main" id="{2A846538-8E1D-41E9-A509-93B95F64011A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59040" y="4724820"/>
            <a:ext cx="1921648" cy="1921648"/>
          </a:xfrm>
          <a:prstGeom prst="rect">
            <a:avLst/>
          </a:prstGeom>
        </p:spPr>
      </p:pic>
      <p:pic>
        <p:nvPicPr>
          <p:cNvPr id="14" name="Рисунок 13">
            <a:extLst>
              <a:ext uri="{FF2B5EF4-FFF2-40B4-BE49-F238E27FC236}">
                <a16:creationId xmlns:a16="http://schemas.microsoft.com/office/drawing/2014/main" id="{851544D2-7562-4C89-8B6F-7A27769DD1D9}"/>
              </a:ext>
            </a:extLst>
          </p:cNvPr>
          <p:cNvPicPr>
            <a:picLocks noChangeAspect="1"/>
          </p:cNvPicPr>
          <p:nvPr/>
        </p:nvPicPr>
        <p:blipFill>
          <a:blip r:embed="rId5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954677" y="2955807"/>
            <a:ext cx="946386" cy="946386"/>
          </a:xfrm>
          <a:prstGeom prst="rect">
            <a:avLst/>
          </a:prstGeom>
        </p:spPr>
      </p:pic>
      <p:pic>
        <p:nvPicPr>
          <p:cNvPr id="16" name="Рисунок 15">
            <a:extLst>
              <a:ext uri="{FF2B5EF4-FFF2-40B4-BE49-F238E27FC236}">
                <a16:creationId xmlns:a16="http://schemas.microsoft.com/office/drawing/2014/main" id="{613E551F-04A3-49D5-AED2-F3607AA151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075237" y="0"/>
            <a:ext cx="1250985" cy="1250985"/>
          </a:xfrm>
          <a:prstGeom prst="rect">
            <a:avLst/>
          </a:prstGeom>
        </p:spPr>
      </p:pic>
      <p:pic>
        <p:nvPicPr>
          <p:cNvPr id="17" name="Рисунок 16">
            <a:extLst>
              <a:ext uri="{FF2B5EF4-FFF2-40B4-BE49-F238E27FC236}">
                <a16:creationId xmlns:a16="http://schemas.microsoft.com/office/drawing/2014/main" id="{3E9B67D8-C9DF-4229-A619-E2E542E08C07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duotone>
              <a:schemeClr val="accent3">
                <a:shade val="45000"/>
                <a:satMod val="135000"/>
              </a:schemeClr>
              <a:prstClr val="white"/>
            </a:duotone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468487" y="5133092"/>
            <a:ext cx="906426" cy="906426"/>
          </a:xfrm>
          <a:prstGeom prst="rect">
            <a:avLst/>
          </a:prstGeom>
        </p:spPr>
      </p:pic>
      <p:sp>
        <p:nvSpPr>
          <p:cNvPr id="19" name="TextBox 18"/>
          <p:cNvSpPr txBox="1"/>
          <p:nvPr/>
        </p:nvSpPr>
        <p:spPr>
          <a:xfrm>
            <a:off x="5626106" y="800708"/>
            <a:ext cx="1440160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млн </a:t>
            </a:r>
            <a:b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en-US" sz="28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USD</a:t>
            </a:r>
            <a:endParaRPr kumimoji="0" lang="ru-RU" sz="28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1" name="TextBox 20"/>
          <p:cNvSpPr txBox="1"/>
          <p:nvPr/>
        </p:nvSpPr>
        <p:spPr>
          <a:xfrm>
            <a:off x="272665" y="3860467"/>
            <a:ext cx="1297739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021 г.</a:t>
            </a:r>
          </a:p>
        </p:txBody>
      </p:sp>
      <p:sp>
        <p:nvSpPr>
          <p:cNvPr id="28" name="Block Arc 41">
            <a:extLst>
              <a:ext uri="{FF2B5EF4-FFF2-40B4-BE49-F238E27FC236}">
                <a16:creationId xmlns:a16="http://schemas.microsoft.com/office/drawing/2014/main" id="{40FC1325-B513-4571-8F58-47CC2C19395B}"/>
              </a:ext>
            </a:extLst>
          </p:cNvPr>
          <p:cNvSpPr/>
          <p:nvPr/>
        </p:nvSpPr>
        <p:spPr>
          <a:xfrm>
            <a:off x="911424" y="4833156"/>
            <a:ext cx="533968" cy="703020"/>
          </a:xfrm>
          <a:custGeom>
            <a:avLst/>
            <a:gdLst/>
            <a:ahLst/>
            <a:cxnLst/>
            <a:rect l="l" t="t" r="r" b="b"/>
            <a:pathLst>
              <a:path w="2512265" h="3505352">
                <a:moveTo>
                  <a:pt x="1276582" y="2106401"/>
                </a:moveTo>
                <a:cubicBezTo>
                  <a:pt x="1154832" y="2195007"/>
                  <a:pt x="1018024" y="2262207"/>
                  <a:pt x="871321" y="2302645"/>
                </a:cubicBezTo>
                <a:cubicBezTo>
                  <a:pt x="1041049" y="2346709"/>
                  <a:pt x="1216984" y="2342691"/>
                  <a:pt x="1380867" y="2295542"/>
                </a:cubicBezTo>
                <a:cubicBezTo>
                  <a:pt x="1352791" y="2227964"/>
                  <a:pt x="1317377" y="2164934"/>
                  <a:pt x="1276582" y="2106401"/>
                </a:cubicBezTo>
                <a:close/>
                <a:moveTo>
                  <a:pt x="931061" y="1768598"/>
                </a:moveTo>
                <a:lnTo>
                  <a:pt x="785084" y="2021438"/>
                </a:lnTo>
                <a:lnTo>
                  <a:pt x="684448" y="2196711"/>
                </a:lnTo>
                <a:cubicBezTo>
                  <a:pt x="868931" y="2169533"/>
                  <a:pt x="1041385" y="2098006"/>
                  <a:pt x="1189228" y="1991290"/>
                </a:cubicBezTo>
                <a:cubicBezTo>
                  <a:pt x="1113839" y="1904543"/>
                  <a:pt x="1026949" y="1829435"/>
                  <a:pt x="931061" y="1768598"/>
                </a:cubicBezTo>
                <a:close/>
                <a:moveTo>
                  <a:pt x="1626242" y="1739577"/>
                </a:moveTo>
                <a:cubicBezTo>
                  <a:pt x="1556851" y="1850020"/>
                  <a:pt x="1471526" y="1947792"/>
                  <a:pt x="1374302" y="2030973"/>
                </a:cubicBezTo>
                <a:cubicBezTo>
                  <a:pt x="1422822" y="2099916"/>
                  <a:pt x="1464618" y="2174537"/>
                  <a:pt x="1497466" y="2254701"/>
                </a:cubicBezTo>
                <a:cubicBezTo>
                  <a:pt x="1664534" y="2184833"/>
                  <a:pt x="1813198" y="2068027"/>
                  <a:pt x="1922549" y="1910651"/>
                </a:cubicBezTo>
                <a:close/>
                <a:moveTo>
                  <a:pt x="531158" y="1601275"/>
                </a:moveTo>
                <a:cubicBezTo>
                  <a:pt x="514831" y="1769123"/>
                  <a:pt x="535254" y="1939877"/>
                  <a:pt x="594029" y="2101141"/>
                </a:cubicBezTo>
                <a:lnTo>
                  <a:pt x="822377" y="1705631"/>
                </a:lnTo>
                <a:cubicBezTo>
                  <a:pt x="730789" y="1658398"/>
                  <a:pt x="632873" y="1623335"/>
                  <a:pt x="531158" y="1601275"/>
                </a:cubicBezTo>
                <a:close/>
                <a:moveTo>
                  <a:pt x="270885" y="1572115"/>
                </a:moveTo>
                <a:cubicBezTo>
                  <a:pt x="231457" y="1572339"/>
                  <a:pt x="191799" y="1574812"/>
                  <a:pt x="152057" y="1579894"/>
                </a:cubicBezTo>
                <a:cubicBezTo>
                  <a:pt x="195418" y="1760005"/>
                  <a:pt x="289893" y="1927350"/>
                  <a:pt x="428945" y="2058945"/>
                </a:cubicBezTo>
                <a:cubicBezTo>
                  <a:pt x="384418" y="1901749"/>
                  <a:pt x="371313" y="1738504"/>
                  <a:pt x="388331" y="1577832"/>
                </a:cubicBezTo>
                <a:cubicBezTo>
                  <a:pt x="349511" y="1573916"/>
                  <a:pt x="310313" y="1571891"/>
                  <a:pt x="270885" y="1572115"/>
                </a:cubicBezTo>
                <a:close/>
                <a:moveTo>
                  <a:pt x="1117422" y="1445810"/>
                </a:moveTo>
                <a:lnTo>
                  <a:pt x="992684" y="1661863"/>
                </a:lnTo>
                <a:cubicBezTo>
                  <a:pt x="1102065" y="1730612"/>
                  <a:pt x="1200940" y="1816138"/>
                  <a:pt x="1286200" y="1915345"/>
                </a:cubicBezTo>
                <a:cubicBezTo>
                  <a:pt x="1368713" y="1844119"/>
                  <a:pt x="1441290" y="1760865"/>
                  <a:pt x="1500981" y="1667258"/>
                </a:cubicBezTo>
                <a:close/>
                <a:moveTo>
                  <a:pt x="2092402" y="1221082"/>
                </a:moveTo>
                <a:cubicBezTo>
                  <a:pt x="2001593" y="1234047"/>
                  <a:pt x="1911092" y="1235450"/>
                  <a:pt x="1822337" y="1227227"/>
                </a:cubicBezTo>
                <a:cubicBezTo>
                  <a:pt x="1800443" y="1366691"/>
                  <a:pt x="1756170" y="1503162"/>
                  <a:pt x="1688847" y="1630684"/>
                </a:cubicBezTo>
                <a:lnTo>
                  <a:pt x="1987299" y="1802996"/>
                </a:lnTo>
                <a:cubicBezTo>
                  <a:pt x="2084887" y="1618081"/>
                  <a:pt x="2117858" y="1415133"/>
                  <a:pt x="2092402" y="1221082"/>
                </a:cubicBezTo>
                <a:close/>
                <a:moveTo>
                  <a:pt x="649579" y="1175701"/>
                </a:moveTo>
                <a:cubicBezTo>
                  <a:pt x="600911" y="1272240"/>
                  <a:pt x="566994" y="1374279"/>
                  <a:pt x="548013" y="1478728"/>
                </a:cubicBezTo>
                <a:cubicBezTo>
                  <a:pt x="665588" y="1503392"/>
                  <a:pt x="778659" y="1543786"/>
                  <a:pt x="883938" y="1599004"/>
                </a:cubicBezTo>
                <a:lnTo>
                  <a:pt x="1008644" y="1383007"/>
                </a:lnTo>
                <a:close/>
                <a:moveTo>
                  <a:pt x="1325201" y="1085928"/>
                </a:moveTo>
                <a:lnTo>
                  <a:pt x="1180226" y="1337032"/>
                </a:lnTo>
                <a:lnTo>
                  <a:pt x="1563461" y="1558293"/>
                </a:lnTo>
                <a:cubicBezTo>
                  <a:pt x="1621429" y="1447029"/>
                  <a:pt x="1659763" y="1328223"/>
                  <a:pt x="1679185" y="1206861"/>
                </a:cubicBezTo>
                <a:cubicBezTo>
                  <a:pt x="1555153" y="1183834"/>
                  <a:pt x="1435895" y="1143161"/>
                  <a:pt x="1325201" y="1085928"/>
                </a:cubicBezTo>
                <a:close/>
                <a:moveTo>
                  <a:pt x="216369" y="925587"/>
                </a:moveTo>
                <a:cubicBezTo>
                  <a:pt x="135862" y="1096620"/>
                  <a:pt x="108667" y="1281041"/>
                  <a:pt x="130011" y="1458436"/>
                </a:cubicBezTo>
                <a:cubicBezTo>
                  <a:pt x="222591" y="1446071"/>
                  <a:pt x="314795" y="1446181"/>
                  <a:pt x="405131" y="1455463"/>
                </a:cubicBezTo>
                <a:cubicBezTo>
                  <a:pt x="426945" y="1333935"/>
                  <a:pt x="466667" y="1215249"/>
                  <a:pt x="524206" y="1103317"/>
                </a:cubicBezTo>
                <a:close/>
                <a:moveTo>
                  <a:pt x="943246" y="797103"/>
                </a:moveTo>
                <a:cubicBezTo>
                  <a:pt x="853400" y="873630"/>
                  <a:pt x="774733" y="963960"/>
                  <a:pt x="711316" y="1066306"/>
                </a:cubicBezTo>
                <a:lnTo>
                  <a:pt x="1071447" y="1274228"/>
                </a:lnTo>
                <a:lnTo>
                  <a:pt x="1215869" y="1024081"/>
                </a:lnTo>
                <a:cubicBezTo>
                  <a:pt x="1115458" y="961776"/>
                  <a:pt x="1023809" y="885272"/>
                  <a:pt x="943246" y="797103"/>
                </a:cubicBezTo>
                <a:close/>
                <a:moveTo>
                  <a:pt x="1777831" y="614825"/>
                </a:moveTo>
                <a:cubicBezTo>
                  <a:pt x="1828108" y="774217"/>
                  <a:pt x="1847177" y="940426"/>
                  <a:pt x="1835302" y="1104709"/>
                </a:cubicBezTo>
                <a:cubicBezTo>
                  <a:pt x="1912529" y="1111680"/>
                  <a:pt x="1991200" y="1110618"/>
                  <a:pt x="2070135" y="1099634"/>
                </a:cubicBezTo>
                <a:cubicBezTo>
                  <a:pt x="2023430" y="916066"/>
                  <a:pt x="1923963" y="746103"/>
                  <a:pt x="1777831" y="614825"/>
                </a:cubicBezTo>
                <a:close/>
                <a:moveTo>
                  <a:pt x="1613169" y="587153"/>
                </a:moveTo>
                <a:lnTo>
                  <a:pt x="1386789" y="979253"/>
                </a:lnTo>
                <a:cubicBezTo>
                  <a:pt x="1482593" y="1028182"/>
                  <a:pt x="1585369" y="1063521"/>
                  <a:pt x="1692132" y="1084514"/>
                </a:cubicBezTo>
                <a:cubicBezTo>
                  <a:pt x="1702376" y="916614"/>
                  <a:pt x="1676765" y="746730"/>
                  <a:pt x="1613169" y="587153"/>
                </a:cubicBezTo>
                <a:close/>
                <a:moveTo>
                  <a:pt x="1500307" y="531421"/>
                </a:moveTo>
                <a:cubicBezTo>
                  <a:pt x="1333628" y="560682"/>
                  <a:pt x="1177718" y="626786"/>
                  <a:pt x="1041762" y="721997"/>
                </a:cubicBezTo>
                <a:cubicBezTo>
                  <a:pt x="1111912" y="797410"/>
                  <a:pt x="1191076" y="863204"/>
                  <a:pt x="1277416" y="917480"/>
                </a:cubicBezTo>
                <a:close/>
                <a:moveTo>
                  <a:pt x="708730" y="442269"/>
                </a:moveTo>
                <a:cubicBezTo>
                  <a:pt x="536145" y="518354"/>
                  <a:pt x="384460" y="645249"/>
                  <a:pt x="277225" y="815684"/>
                </a:cubicBezTo>
                <a:lnTo>
                  <a:pt x="586010" y="993961"/>
                </a:lnTo>
                <a:cubicBezTo>
                  <a:pt x="658009" y="876621"/>
                  <a:pt x="747803" y="773217"/>
                  <a:pt x="850548" y="685844"/>
                </a:cubicBezTo>
                <a:cubicBezTo>
                  <a:pt x="795399" y="611028"/>
                  <a:pt x="747545" y="529652"/>
                  <a:pt x="708730" y="442269"/>
                </a:cubicBezTo>
                <a:close/>
                <a:moveTo>
                  <a:pt x="1114411" y="355452"/>
                </a:moveTo>
                <a:cubicBezTo>
                  <a:pt x="1016499" y="355167"/>
                  <a:pt x="919324" y="369705"/>
                  <a:pt x="826255" y="398131"/>
                </a:cubicBezTo>
                <a:cubicBezTo>
                  <a:pt x="858722" y="474940"/>
                  <a:pt x="900618" y="545829"/>
                  <a:pt x="948599" y="611249"/>
                </a:cubicBezTo>
                <a:cubicBezTo>
                  <a:pt x="1085375" y="512974"/>
                  <a:pt x="1240825" y="441488"/>
                  <a:pt x="1406980" y="401715"/>
                </a:cubicBezTo>
                <a:cubicBezTo>
                  <a:pt x="1310969" y="370847"/>
                  <a:pt x="1212322" y="355738"/>
                  <a:pt x="1114411" y="355452"/>
                </a:cubicBezTo>
                <a:close/>
                <a:moveTo>
                  <a:pt x="1776283" y="295101"/>
                </a:moveTo>
                <a:lnTo>
                  <a:pt x="1710896" y="408983"/>
                </a:lnTo>
                <a:cubicBezTo>
                  <a:pt x="2209777" y="726145"/>
                  <a:pt x="2373723" y="1383396"/>
                  <a:pt x="2075153" y="1900534"/>
                </a:cubicBezTo>
                <a:cubicBezTo>
                  <a:pt x="1777480" y="2416119"/>
                  <a:pt x="1129323" y="2603192"/>
                  <a:pt x="606057" y="2333243"/>
                </a:cubicBezTo>
                <a:lnTo>
                  <a:pt x="534769" y="2457402"/>
                </a:lnTo>
                <a:cubicBezTo>
                  <a:pt x="1115347" y="2755664"/>
                  <a:pt x="1834151" y="2554240"/>
                  <a:pt x="2173557" y="1987198"/>
                </a:cubicBezTo>
                <a:cubicBezTo>
                  <a:pt x="2520801" y="1407062"/>
                  <a:pt x="2343129" y="657734"/>
                  <a:pt x="1776283" y="295101"/>
                </a:cubicBezTo>
                <a:close/>
                <a:moveTo>
                  <a:pt x="1831804" y="0"/>
                </a:moveTo>
                <a:cubicBezTo>
                  <a:pt x="1881515" y="0"/>
                  <a:pt x="1921814" y="40299"/>
                  <a:pt x="1921814" y="90010"/>
                </a:cubicBezTo>
                <a:cubicBezTo>
                  <a:pt x="1921814" y="123853"/>
                  <a:pt x="1903137" y="153333"/>
                  <a:pt x="1874873" y="167531"/>
                </a:cubicBezTo>
                <a:cubicBezTo>
                  <a:pt x="2505724" y="579432"/>
                  <a:pt x="2701456" y="1419035"/>
                  <a:pt x="2311836" y="2069966"/>
                </a:cubicBezTo>
                <a:cubicBezTo>
                  <a:pt x="2067801" y="2477672"/>
                  <a:pt x="1650037" y="2717958"/>
                  <a:pt x="1209422" y="2750781"/>
                </a:cubicBezTo>
                <a:lnTo>
                  <a:pt x="1209422" y="3191198"/>
                </a:lnTo>
                <a:cubicBezTo>
                  <a:pt x="1228953" y="3190691"/>
                  <a:pt x="1248332" y="3191937"/>
                  <a:pt x="1267595" y="3193449"/>
                </a:cubicBezTo>
                <a:cubicBezTo>
                  <a:pt x="1660899" y="3224325"/>
                  <a:pt x="1926978" y="3358049"/>
                  <a:pt x="1884661" y="3503570"/>
                </a:cubicBezTo>
                <a:lnTo>
                  <a:pt x="318693" y="3505352"/>
                </a:lnTo>
                <a:cubicBezTo>
                  <a:pt x="273700" y="3359367"/>
                  <a:pt x="539657" y="3224666"/>
                  <a:pt x="934393" y="3193515"/>
                </a:cubicBezTo>
                <a:lnTo>
                  <a:pt x="993398" y="3191208"/>
                </a:lnTo>
                <a:lnTo>
                  <a:pt x="993398" y="2750894"/>
                </a:lnTo>
                <a:cubicBezTo>
                  <a:pt x="812915" y="2737642"/>
                  <a:pt x="632784" y="2688481"/>
                  <a:pt x="463078" y="2601537"/>
                </a:cubicBezTo>
                <a:cubicBezTo>
                  <a:pt x="463677" y="2602537"/>
                  <a:pt x="463694" y="2603560"/>
                  <a:pt x="463694" y="2604587"/>
                </a:cubicBezTo>
                <a:cubicBezTo>
                  <a:pt x="463694" y="2654298"/>
                  <a:pt x="423395" y="2694597"/>
                  <a:pt x="373684" y="2694597"/>
                </a:cubicBezTo>
                <a:cubicBezTo>
                  <a:pt x="323973" y="2694597"/>
                  <a:pt x="283674" y="2654298"/>
                  <a:pt x="283674" y="2604587"/>
                </a:cubicBezTo>
                <a:cubicBezTo>
                  <a:pt x="283674" y="2554876"/>
                  <a:pt x="323973" y="2514577"/>
                  <a:pt x="373684" y="2514577"/>
                </a:cubicBezTo>
                <a:lnTo>
                  <a:pt x="377019" y="2515250"/>
                </a:lnTo>
                <a:lnTo>
                  <a:pt x="511820" y="2280472"/>
                </a:lnTo>
                <a:lnTo>
                  <a:pt x="495824" y="2271237"/>
                </a:lnTo>
                <a:lnTo>
                  <a:pt x="496783" y="2269575"/>
                </a:lnTo>
                <a:cubicBezTo>
                  <a:pt x="34226" y="1964050"/>
                  <a:pt x="-130424" y="1362029"/>
                  <a:pt x="110016" y="864184"/>
                </a:cubicBezTo>
                <a:lnTo>
                  <a:pt x="106296" y="862036"/>
                </a:lnTo>
                <a:lnTo>
                  <a:pt x="148828" y="788370"/>
                </a:lnTo>
                <a:lnTo>
                  <a:pt x="169099" y="753258"/>
                </a:lnTo>
                <a:lnTo>
                  <a:pt x="170873" y="754281"/>
                </a:lnTo>
                <a:cubicBezTo>
                  <a:pt x="475914" y="264737"/>
                  <a:pt x="1106018" y="92008"/>
                  <a:pt x="1617242" y="355196"/>
                </a:cubicBezTo>
                <a:lnTo>
                  <a:pt x="1748044" y="127384"/>
                </a:lnTo>
                <a:lnTo>
                  <a:pt x="1751959" y="129632"/>
                </a:lnTo>
                <a:cubicBezTo>
                  <a:pt x="1745165" y="117975"/>
                  <a:pt x="1741794" y="104386"/>
                  <a:pt x="1741794" y="90010"/>
                </a:cubicBezTo>
                <a:cubicBezTo>
                  <a:pt x="1741794" y="40299"/>
                  <a:pt x="1782093" y="0"/>
                  <a:pt x="1831804" y="0"/>
                </a:cubicBezTo>
                <a:close/>
              </a:path>
            </a:pathLst>
          </a:custGeom>
          <a:solidFill>
            <a:srgbClr val="546F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2" name="TextBox 21"/>
          <p:cNvSpPr txBox="1"/>
          <p:nvPr/>
        </p:nvSpPr>
        <p:spPr>
          <a:xfrm>
            <a:off x="3915349" y="3797359"/>
            <a:ext cx="2058951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603</a:t>
            </a:r>
            <a:endParaRPr kumimoji="0" lang="ru-RU" sz="80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7" name="TextBox 26"/>
          <p:cNvSpPr txBox="1"/>
          <p:nvPr/>
        </p:nvSpPr>
        <p:spPr>
          <a:xfrm>
            <a:off x="5990088" y="3962481"/>
            <a:ext cx="5186108" cy="95410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новых компаний-</a:t>
            </a:r>
          </a:p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8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нерезидентов</a:t>
            </a:r>
          </a:p>
        </p:txBody>
      </p:sp>
    </p:spTree>
    <p:extLst>
      <p:ext uri="{BB962C8B-B14F-4D97-AF65-F5344CB8AC3E}">
        <p14:creationId xmlns:p14="http://schemas.microsoft.com/office/powerpoint/2010/main" val="832755864"/>
      </p:ext>
    </p:extLst>
  </p:cSld>
  <p:clrMapOvr>
    <a:masterClrMapping/>
  </p:clrMapOvr>
</p:sld>
</file>

<file path=ppt/slides/slide4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 noGrp="1"/>
          </p:cNvPicPr>
          <p:nvPr>
            <p:ph idx="1" type="pic"/>
          </p:nvPr>
        </p:nvPicPr>
        <p:blipFill>
          <a:blip cstate="print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"/>
          <a:stretch>
            <a:fillRect/>
          </a:stretch>
        </p:blipFill>
        <p:spPr/>
      </p:pic>
      <p:pic>
        <p:nvPicPr>
          <p:cNvPr id="11" name="Рисунок 10"/>
          <p:cNvPicPr>
            <a:picLocks noChangeAspect="1" noGrp="1"/>
          </p:cNvPicPr>
          <p:nvPr>
            <p:ph idx="12" type="pic"/>
          </p:nvPr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424" y="4547453"/>
            <a:ext cx="1728192" cy="887858"/>
          </a:xfrm>
        </p:spPr>
      </p:pic>
      <p:pic>
        <p:nvPicPr>
          <p:cNvPr id="12" name="Рисунок 11"/>
          <p:cNvPicPr>
            <a:picLocks noChangeAspect="1" noGrp="1"/>
          </p:cNvPicPr>
          <p:nvPr>
            <p:ph idx="13" type="pic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207"/>
          <a:stretch/>
        </p:blipFill>
        <p:spPr>
          <a:xfrm>
            <a:off x="911425" y="5589240"/>
            <a:ext cx="1728192" cy="924407"/>
          </a:xfrm>
        </p:spPr>
      </p:pic>
      <p:pic>
        <p:nvPicPr>
          <p:cNvPr id="6" name="Рисунок 5"/>
          <p:cNvPicPr>
            <a:picLocks noChangeAspect="1" noGrp="1"/>
          </p:cNvPicPr>
          <p:nvPr>
            <p:ph idx="1" type="pic"/>
          </p:nvPr>
        </p:nvPicPr>
        <p:blipFill>
          <a:blip cstate="print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24" y="2382838"/>
            <a:ext cx="1728391" cy="923925"/>
          </a:xfrm>
        </p:spPr>
      </p:pic>
      <p:pic>
        <p:nvPicPr>
          <p:cNvPr id="8" name="Рисунок 7"/>
          <p:cNvPicPr>
            <a:picLocks noChangeAspect="1" noGrp="1"/>
          </p:cNvPicPr>
          <p:nvPr>
            <p:ph idx="1" type="pic"/>
          </p:nvPr>
        </p:nvPicPr>
        <p:blipFill>
          <a:blip cstate="print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25" y="1345142"/>
            <a:ext cx="1728788" cy="851428"/>
          </a:xfrm>
        </p:spPr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395700" y="404664"/>
            <a:ext cx="8208912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ctr"/>
            <a:r>
              <a:rPr dirty="0" lang="ru-RU" sz="3600">
                <a:sym charset="0" pitchFamily="2" typeface="Roboto"/>
              </a:rPr>
              <a:t>5 товарных секций</a:t>
            </a:r>
          </a:p>
        </p:txBody>
      </p:sp>
      <p:sp>
        <p:nvSpPr>
          <p:cNvPr id="39" name="Заголовок 1"/>
          <p:cNvSpPr txBox="1">
            <a:spLocks/>
          </p:cNvSpPr>
          <p:nvPr/>
        </p:nvSpPr>
        <p:spPr>
          <a:xfrm>
            <a:off x="3215680" y="1482813"/>
            <a:ext cx="6264696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b="0" dirty="0" lang="ru-RU">
                <a:sym charset="0" pitchFamily="2" typeface="Roboto"/>
              </a:rPr>
              <a:t>Металлопродукция</a:t>
            </a:r>
          </a:p>
        </p:txBody>
      </p:sp>
      <p:sp>
        <p:nvSpPr>
          <p:cNvPr id="40" name="Заголовок 1"/>
          <p:cNvSpPr txBox="1">
            <a:spLocks/>
          </p:cNvSpPr>
          <p:nvPr/>
        </p:nvSpPr>
        <p:spPr>
          <a:xfrm>
            <a:off x="3215680" y="2556766"/>
            <a:ext cx="6264696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b="0" dirty="0" err="1" lang="ru-RU">
                <a:sym charset="0" pitchFamily="2" typeface="Roboto"/>
              </a:rPr>
              <a:t>Лесопродукция</a:t>
            </a:r>
            <a:endParaRPr b="0" dirty="0" lang="ru-RU">
              <a:sym charset="0" pitchFamily="2" typeface="Roboto"/>
            </a:endParaRPr>
          </a:p>
        </p:txBody>
      </p:sp>
      <p:sp>
        <p:nvSpPr>
          <p:cNvPr id="41" name="Заголовок 1"/>
          <p:cNvSpPr txBox="1">
            <a:spLocks/>
          </p:cNvSpPr>
          <p:nvPr/>
        </p:nvSpPr>
        <p:spPr>
          <a:xfrm>
            <a:off x="3215680" y="3630719"/>
            <a:ext cx="6264696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b="0" dirty="0" lang="ru-RU">
                <a:sym charset="0" pitchFamily="2" typeface="Roboto"/>
              </a:rPr>
              <a:t>Сельхозпродукция</a:t>
            </a:r>
          </a:p>
        </p:txBody>
      </p:sp>
      <p:sp>
        <p:nvSpPr>
          <p:cNvPr id="42" name="Заголовок 1"/>
          <p:cNvSpPr txBox="1">
            <a:spLocks/>
          </p:cNvSpPr>
          <p:nvPr/>
        </p:nvSpPr>
        <p:spPr>
          <a:xfrm>
            <a:off x="3215680" y="4704672"/>
            <a:ext cx="8712968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b="0" dirty="0" lang="ru-RU">
                <a:sym charset="0" pitchFamily="2" typeface="Roboto"/>
              </a:rPr>
              <a:t>Промышленные и потребительские товары</a:t>
            </a:r>
          </a:p>
        </p:txBody>
      </p:sp>
      <p:sp>
        <p:nvSpPr>
          <p:cNvPr id="43" name="Заголовок 1"/>
          <p:cNvSpPr txBox="1">
            <a:spLocks/>
          </p:cNvSpPr>
          <p:nvPr/>
        </p:nvSpPr>
        <p:spPr>
          <a:xfrm>
            <a:off x="3215680" y="5778625"/>
            <a:ext cx="8352928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b="0" dirty="0" lang="ru-RU">
                <a:sym charset="0" pitchFamily="2" typeface="Roboto"/>
              </a:rPr>
              <a:t>Нефтепродукты и электроэнергия</a:t>
            </a:r>
          </a:p>
        </p:txBody>
      </p:sp>
    </p:spTree>
    <p:extLst>
      <p:ext uri="{BB962C8B-B14F-4D97-AF65-F5344CB8AC3E}">
        <p14:creationId xmlns:p14="http://schemas.microsoft.com/office/powerpoint/2010/main" val="401667872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TextBox 17"/>
          <p:cNvSpPr txBox="1"/>
          <p:nvPr/>
        </p:nvSpPr>
        <p:spPr>
          <a:xfrm>
            <a:off x="5195900" y="523243"/>
            <a:ext cx="2914095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2</a:t>
            </a: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 </a:t>
            </a: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745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0" name="TextBox 19"/>
          <p:cNvSpPr txBox="1"/>
          <p:nvPr/>
        </p:nvSpPr>
        <p:spPr>
          <a:xfrm>
            <a:off x="8187317" y="855816"/>
            <a:ext cx="256952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компаний</a:t>
            </a:r>
          </a:p>
        </p:txBody>
      </p:sp>
      <p:sp>
        <p:nvSpPr>
          <p:cNvPr id="23" name="TextBox 22"/>
          <p:cNvSpPr txBox="1"/>
          <p:nvPr/>
        </p:nvSpPr>
        <p:spPr>
          <a:xfrm>
            <a:off x="3964964" y="3890461"/>
            <a:ext cx="286803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574 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8180820" y="4229013"/>
            <a:ext cx="3240360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товарооборот</a:t>
            </a:r>
          </a:p>
        </p:txBody>
      </p:sp>
      <p:sp>
        <p:nvSpPr>
          <p:cNvPr id="25" name="TextBox 24"/>
          <p:cNvSpPr txBox="1"/>
          <p:nvPr/>
        </p:nvSpPr>
        <p:spPr>
          <a:xfrm>
            <a:off x="4919984" y="5322693"/>
            <a:ext cx="317507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150%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26" name="TextBox 25"/>
          <p:cNvSpPr txBox="1"/>
          <p:nvPr/>
        </p:nvSpPr>
        <p:spPr>
          <a:xfrm>
            <a:off x="8187317" y="5661248"/>
            <a:ext cx="2929568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темп роста</a:t>
            </a:r>
          </a:p>
        </p:txBody>
      </p:sp>
      <p:sp>
        <p:nvSpPr>
          <p:cNvPr id="41" name="Заголовок 1"/>
          <p:cNvSpPr>
            <a:spLocks noGrp="1"/>
          </p:cNvSpPr>
          <p:nvPr>
            <p:ph type="title"/>
          </p:nvPr>
        </p:nvSpPr>
        <p:spPr>
          <a:xfrm>
            <a:off x="263352" y="1592796"/>
            <a:ext cx="2919009" cy="2916324"/>
          </a:xfrm>
        </p:spPr>
        <p:txBody>
          <a:bodyPr>
            <a:noAutofit/>
          </a:bodyPr>
          <a:lstStyle/>
          <a:p>
            <a:r>
              <a:rPr lang="ru-RU" sz="3600" dirty="0">
                <a:sym typeface="Roboto" pitchFamily="2" charset="0"/>
              </a:rPr>
              <a:t>Биржевая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торговля</a:t>
            </a:r>
            <a:br>
              <a:rPr lang="ru-RU" sz="3600" dirty="0">
                <a:sym typeface="Roboto" pitchFamily="2" charset="0"/>
              </a:rPr>
            </a:br>
            <a:r>
              <a:rPr lang="ru-RU" sz="3600" dirty="0">
                <a:sym typeface="Roboto" pitchFamily="2" charset="0"/>
              </a:rPr>
              <a:t>с РФ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5132804" y="2219854"/>
            <a:ext cx="2868036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80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+253</a:t>
            </a:r>
            <a:endParaRPr kumimoji="0" lang="ru-RU" sz="24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3" name="TextBox 12"/>
          <p:cNvSpPr txBox="1"/>
          <p:nvPr/>
        </p:nvSpPr>
        <p:spPr>
          <a:xfrm>
            <a:off x="8184232" y="2579421"/>
            <a:ext cx="3384376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новых</a:t>
            </a:r>
          </a:p>
        </p:txBody>
      </p:sp>
      <p:sp>
        <p:nvSpPr>
          <p:cNvPr id="14" name="TextBox 13"/>
          <p:cNvSpPr txBox="1"/>
          <p:nvPr/>
        </p:nvSpPr>
        <p:spPr>
          <a:xfrm>
            <a:off x="6924092" y="4007413"/>
            <a:ext cx="1440160" cy="108952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marR="0" lvl="0" indent="0" algn="l" defTabSz="1219137" rtl="0" eaLnBrk="1" fontAlgn="auto" latinLnBrk="1" hangingPunct="1">
              <a:lnSpc>
                <a:spcPct val="9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млн </a:t>
            </a:r>
            <a:br>
              <a:rPr kumimoji="0" lang="ru-RU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</a:br>
            <a:r>
              <a:rPr kumimoji="0" lang="en-US" sz="3600" b="0" i="0" u="none" strike="noStrike" kern="1200" cap="none" spc="0" normalizeH="0" baseline="0" noProof="0" dirty="0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rPr>
              <a:t>USD</a:t>
            </a:r>
            <a:endParaRPr kumimoji="0" lang="ru-RU" sz="3600" b="0" i="0" u="none" strike="noStrike" kern="1200" cap="none" spc="0" normalizeH="0" baseline="0" noProof="0" dirty="0">
              <a:ln>
                <a:noFill/>
              </a:ln>
              <a:solidFill>
                <a:srgbClr val="649941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  <p:sp>
        <p:nvSpPr>
          <p:cNvPr id="15" name="Rectangle 7">
            <a:extLst>
              <a:ext uri="{FF2B5EF4-FFF2-40B4-BE49-F238E27FC236}">
                <a16:creationId xmlns:a16="http://schemas.microsoft.com/office/drawing/2014/main" id="{C62ABD80-4BAC-4AA0-972A-30C0B627D475}"/>
              </a:ext>
            </a:extLst>
          </p:cNvPr>
          <p:cNvSpPr/>
          <p:nvPr/>
        </p:nvSpPr>
        <p:spPr>
          <a:xfrm>
            <a:off x="947428" y="4906712"/>
            <a:ext cx="648072" cy="571285"/>
          </a:xfrm>
          <a:custGeom>
            <a:avLst/>
            <a:gdLst/>
            <a:ahLst/>
            <a:cxnLst/>
            <a:rect l="l" t="t" r="r" b="b"/>
            <a:pathLst>
              <a:path w="3240000" h="3240000">
                <a:moveTo>
                  <a:pt x="401869" y="2055482"/>
                </a:moveTo>
                <a:lnTo>
                  <a:pt x="869869" y="2055482"/>
                </a:lnTo>
                <a:lnTo>
                  <a:pt x="869869" y="2919482"/>
                </a:lnTo>
                <a:lnTo>
                  <a:pt x="401869" y="2919482"/>
                </a:lnTo>
                <a:close/>
                <a:moveTo>
                  <a:pt x="1121949" y="1695482"/>
                </a:moveTo>
                <a:lnTo>
                  <a:pt x="1589949" y="1695482"/>
                </a:lnTo>
                <a:lnTo>
                  <a:pt x="1589949" y="2919482"/>
                </a:lnTo>
                <a:lnTo>
                  <a:pt x="1121949" y="2919482"/>
                </a:lnTo>
                <a:close/>
                <a:moveTo>
                  <a:pt x="1842029" y="1335482"/>
                </a:moveTo>
                <a:lnTo>
                  <a:pt x="2310029" y="1335482"/>
                </a:lnTo>
                <a:lnTo>
                  <a:pt x="2310029" y="2919482"/>
                </a:lnTo>
                <a:lnTo>
                  <a:pt x="1842029" y="2919482"/>
                </a:lnTo>
                <a:close/>
                <a:moveTo>
                  <a:pt x="2562109" y="975482"/>
                </a:moveTo>
                <a:lnTo>
                  <a:pt x="3030109" y="975482"/>
                </a:lnTo>
                <a:lnTo>
                  <a:pt x="3030109" y="2919482"/>
                </a:lnTo>
                <a:lnTo>
                  <a:pt x="2562109" y="2919482"/>
                </a:lnTo>
                <a:close/>
                <a:moveTo>
                  <a:pt x="2321888" y="224805"/>
                </a:moveTo>
                <a:lnTo>
                  <a:pt x="2880631" y="247420"/>
                </a:lnTo>
                <a:lnTo>
                  <a:pt x="2620844" y="742612"/>
                </a:lnTo>
                <a:lnTo>
                  <a:pt x="2546105" y="613161"/>
                </a:lnTo>
                <a:lnTo>
                  <a:pt x="541555" y="1770488"/>
                </a:lnTo>
                <a:lnTo>
                  <a:pt x="392077" y="1511585"/>
                </a:lnTo>
                <a:lnTo>
                  <a:pt x="2396627" y="354257"/>
                </a:lnTo>
                <a:close/>
                <a:moveTo>
                  <a:pt x="0" y="0"/>
                </a:moveTo>
                <a:lnTo>
                  <a:pt x="180000" y="0"/>
                </a:lnTo>
                <a:lnTo>
                  <a:pt x="180000" y="3059999"/>
                </a:lnTo>
                <a:lnTo>
                  <a:pt x="3240000" y="3059999"/>
                </a:lnTo>
                <a:lnTo>
                  <a:pt x="3240000" y="3239999"/>
                </a:lnTo>
                <a:lnTo>
                  <a:pt x="180000" y="3239999"/>
                </a:lnTo>
                <a:lnTo>
                  <a:pt x="180000" y="3240000"/>
                </a:lnTo>
                <a:lnTo>
                  <a:pt x="0" y="3240000"/>
                </a:lnTo>
                <a:lnTo>
                  <a:pt x="0" y="3239999"/>
                </a:lnTo>
                <a:lnTo>
                  <a:pt x="0" y="3059999"/>
                </a:lnTo>
                <a:close/>
              </a:path>
            </a:pathLst>
          </a:custGeom>
          <a:solidFill>
            <a:srgbClr val="546F1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prstTxWarp prst="textNoShape">
              <a:avLst/>
            </a:prstTxWarp>
            <a:noAutofit/>
          </a:bodyPr>
          <a:lstStyle/>
          <a:p>
            <a:pPr marL="0" marR="0" lvl="0" indent="0" algn="ctr" defTabSz="1219137" rtl="0" eaLnBrk="1" fontAlgn="auto" latinLnBrk="1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ko-KR" altLang="en-US" sz="24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Arial"/>
              <a:ea typeface="Arial Unicode MS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912263079"/>
      </p:ext>
    </p:extLst>
  </p:cSld>
  <p:clrMapOvr>
    <a:masterClrMapping/>
  </p:clrMapOvr>
</p:sld>
</file>

<file path=ppt/slides/slide6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 noGrp="1"/>
          </p:cNvPicPr>
          <p:nvPr>
            <p:ph idx="1" type="pic"/>
          </p:nvPr>
        </p:nvPicPr>
        <p:blipFill>
          <a:blip cstate="print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"/>
          <a:stretch>
            <a:fillRect/>
          </a:stretch>
        </p:blipFill>
        <p:spPr/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35760" y="404664"/>
            <a:ext cx="6264696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1" baseline="0" cap="none" dirty="0" i="0" kern="1200" kumimoji="0" lang="ru-RU" noProof="0" normalizeH="0" spc="0" strike="noStrike" sz="32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39" name="Заголовок 1"/>
          <p:cNvSpPr txBox="1">
            <a:spLocks/>
          </p:cNvSpPr>
          <p:nvPr/>
        </p:nvSpPr>
        <p:spPr>
          <a:xfrm>
            <a:off x="2999656" y="1520671"/>
            <a:ext cx="5997374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Черные металлы и изделия из них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4943872" y="360543"/>
            <a:ext cx="4496308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1" baseline="0" cap="none" dirty="0" i="0" kern="1200" kumimoji="0" lang="ru-RU" noProof="0" normalizeH="0" spc="0" strike="noStrike" sz="32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Импорт из России</a:t>
            </a:r>
          </a:p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1" baseline="0" cap="none" dirty="0" i="0" kern="1200" kumimoji="0" lang="ru-RU" noProof="0" normalizeH="0" spc="0" strike="noStrike" sz="44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pic>
        <p:nvPicPr>
          <p:cNvPr id="9" name="Рисунок 8"/>
          <p:cNvPicPr>
            <a:picLocks noChangeAspect="1" noGrp="1"/>
          </p:cNvPicPr>
          <p:nvPr>
            <p:ph idx="13" type="pic"/>
          </p:nvPr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17"/>
          <a:stretch>
            <a:fillRect/>
          </a:stretch>
        </p:blipFill>
        <p:spPr/>
      </p:pic>
      <p:pic>
        <p:nvPicPr>
          <p:cNvPr id="29" name="Рисунок 28"/>
          <p:cNvPicPr>
            <a:picLocks noChangeAspect="1" noGrp="1"/>
          </p:cNvPicPr>
          <p:nvPr>
            <p:ph idx="1" type="pic"/>
          </p:nvPr>
        </p:nvPicPr>
        <p:blipFill>
          <a:blip cstate="print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"/>
          <a:stretch>
            <a:fillRect/>
          </a:stretch>
        </p:blipFill>
        <p:spPr/>
      </p:pic>
      <p:sp>
        <p:nvSpPr>
          <p:cNvPr id="40" name="Заголовок 1"/>
          <p:cNvSpPr txBox="1">
            <a:spLocks/>
          </p:cNvSpPr>
          <p:nvPr/>
        </p:nvSpPr>
        <p:spPr>
          <a:xfrm>
            <a:off x="3087688" y="3653199"/>
            <a:ext cx="6124333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Цветные металлы и изделия из них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41" name="Заголовок 1"/>
          <p:cNvSpPr txBox="1">
            <a:spLocks/>
          </p:cNvSpPr>
          <p:nvPr/>
        </p:nvSpPr>
        <p:spPr>
          <a:xfrm>
            <a:off x="3071664" y="2584557"/>
            <a:ext cx="2448272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Уголь и кокс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42" name="Заголовок 1"/>
          <p:cNvSpPr txBox="1">
            <a:spLocks/>
          </p:cNvSpPr>
          <p:nvPr/>
        </p:nvSpPr>
        <p:spPr>
          <a:xfrm>
            <a:off x="3087688" y="4721841"/>
            <a:ext cx="6228692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Кабельно-проводниковая продукция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43" name="Заголовок 1"/>
          <p:cNvSpPr txBox="1">
            <a:spLocks/>
          </p:cNvSpPr>
          <p:nvPr/>
        </p:nvSpPr>
        <p:spPr>
          <a:xfrm>
            <a:off x="3087688" y="5794408"/>
            <a:ext cx="6228692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Шрот масличных и корм. добавки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8757342" y="1184555"/>
            <a:ext cx="3004940" cy="1200329"/>
            <a:chOff x="4717226" y="3514024"/>
            <a:chExt cx="3959820" cy="1297701"/>
          </a:xfrm>
        </p:grpSpPr>
        <p:sp>
          <p:nvSpPr>
            <p:cNvPr id="56" name="TextBox 55"/>
            <p:cNvSpPr txBox="1"/>
            <p:nvPr/>
          </p:nvSpPr>
          <p:spPr>
            <a:xfrm>
              <a:off x="4717226" y="3514024"/>
              <a:ext cx="2488476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415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7144706" y="3680329"/>
              <a:ext cx="1532340" cy="938337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8760296" y="2228671"/>
            <a:ext cx="3001986" cy="1200329"/>
            <a:chOff x="4717226" y="3514024"/>
            <a:chExt cx="3955927" cy="1297701"/>
          </a:xfrm>
        </p:grpSpPr>
        <p:sp>
          <p:nvSpPr>
            <p:cNvPr id="59" name="TextBox 58"/>
            <p:cNvSpPr txBox="1"/>
            <p:nvPr/>
          </p:nvSpPr>
          <p:spPr>
            <a:xfrm>
              <a:off x="4717226" y="3514024"/>
              <a:ext cx="2488476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42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7140813" y="3703157"/>
              <a:ext cx="1532340" cy="938337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</p:grpSp>
      <p:grpSp>
        <p:nvGrpSpPr>
          <p:cNvPr id="64" name="Группа 63"/>
          <p:cNvGrpSpPr/>
          <p:nvPr/>
        </p:nvGrpSpPr>
        <p:grpSpPr>
          <a:xfrm>
            <a:off x="8796300" y="3353616"/>
            <a:ext cx="3001986" cy="1200329"/>
            <a:chOff x="4717226" y="3514024"/>
            <a:chExt cx="3955927" cy="1297701"/>
          </a:xfrm>
        </p:grpSpPr>
        <p:sp>
          <p:nvSpPr>
            <p:cNvPr id="65" name="TextBox 64"/>
            <p:cNvSpPr txBox="1"/>
            <p:nvPr/>
          </p:nvSpPr>
          <p:spPr>
            <a:xfrm>
              <a:off x="4717226" y="3514024"/>
              <a:ext cx="2488476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23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140813" y="3711236"/>
              <a:ext cx="1532340" cy="938337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8796300" y="4422953"/>
            <a:ext cx="3036008" cy="2246407"/>
            <a:chOff x="4717226" y="3514024"/>
            <a:chExt cx="4000760" cy="2428638"/>
          </a:xfrm>
        </p:grpSpPr>
        <p:sp>
          <p:nvSpPr>
            <p:cNvPr id="68" name="TextBox 67"/>
            <p:cNvSpPr txBox="1"/>
            <p:nvPr/>
          </p:nvSpPr>
          <p:spPr>
            <a:xfrm>
              <a:off x="4717226" y="3514024"/>
              <a:ext cx="2488476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en-US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1</a:t>
              </a:r>
              <a:r>
                <a:rPr b="0" baseline="0" cap="none" dirty="0" i="0" kern="1200" kumimoji="0" lang="ru-RU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9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154364" y="3693971"/>
              <a:ext cx="1532340" cy="938337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4748788" y="4644961"/>
              <a:ext cx="2488475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4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7185646" y="4832259"/>
              <a:ext cx="1532340" cy="938337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</p:grpSp>
      <p:sp>
        <p:nvSpPr>
          <p:cNvPr id="2" name="Рисунок 1"/>
          <p:cNvSpPr>
            <a:spLocks noGrp="1"/>
          </p:cNvSpPr>
          <p:nvPr>
            <p:ph idx="1" type="pic"/>
          </p:nvPr>
        </p:nvSpPr>
        <p:spPr/>
      </p:sp>
      <p:pic>
        <p:nvPicPr>
          <p:cNvPr id="73" name="Рисунок 72"/>
          <p:cNvPicPr>
            <a:picLocks noChangeAspect="1" noGrp="1"/>
          </p:cNvPicPr>
          <p:nvPr>
            <p:ph idx="1" type="pic"/>
          </p:nvPr>
        </p:nvPicPr>
        <p:blipFill>
          <a:blip cstate="print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1225" y="1345142"/>
            <a:ext cx="1728788" cy="966874"/>
          </a:xfrm>
        </p:spPr>
      </p:pic>
      <p:pic>
        <p:nvPicPr>
          <p:cNvPr id="11" name="Рисунок 10"/>
          <p:cNvPicPr>
            <a:picLocks noChangeAspect="1" noGrp="1"/>
          </p:cNvPicPr>
          <p:nvPr>
            <p:ph idx="1" type="pic"/>
          </p:nvPr>
        </p:nvPicPr>
        <p:blipFill>
          <a:blip cstate="print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45"/>
          <a:stretch>
            <a:fillRect/>
          </a:stretch>
        </p:blipFill>
        <p:spPr>
          <a:xfrm>
            <a:off x="911225" y="3468846"/>
            <a:ext cx="1728788" cy="923925"/>
          </a:xfrm>
        </p:spPr>
      </p:pic>
      <p:pic>
        <p:nvPicPr>
          <p:cNvPr id="75" name="Рисунок 74"/>
          <p:cNvPicPr>
            <a:picLocks noChangeAspect="1" noGrp="1"/>
          </p:cNvPicPr>
          <p:nvPr>
            <p:ph idx="1" type="pic"/>
          </p:nvPr>
        </p:nvPicPr>
        <p:blipFill>
          <a:blip cstate="print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216"/>
          <a:stretch>
            <a:fillRect/>
          </a:stretch>
        </p:blipFill>
        <p:spPr>
          <a:xfrm>
            <a:off x="911424" y="2423346"/>
            <a:ext cx="1728192" cy="924407"/>
          </a:xfrm>
        </p:spPr>
      </p:pic>
      <p:pic>
        <p:nvPicPr>
          <p:cNvPr id="15" name="Рисунок 14"/>
          <p:cNvPicPr>
            <a:picLocks noChangeAspect="1" noGrp="1"/>
          </p:cNvPicPr>
          <p:nvPr>
            <p:ph idx="12" type="pic"/>
          </p:nvPr>
        </p:nvPicPr>
        <p:blipFill>
          <a:blip cstate="print"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51"/>
          <a:stretch>
            <a:fillRect/>
          </a:stretch>
        </p:blipFill>
        <p:spPr/>
      </p:pic>
      <p:pic>
        <p:nvPicPr>
          <p:cNvPr id="17" name="Рисунок 16"/>
          <p:cNvPicPr>
            <a:picLocks noChangeAspect="1" noGrp="1"/>
          </p:cNvPicPr>
          <p:nvPr>
            <p:ph idx="13" type="pic"/>
          </p:nvPr>
        </p:nvPicPr>
        <p:blipFill>
          <a:blip cstate="print"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94"/>
          <a:stretch>
            <a:fillRect/>
          </a:stretch>
        </p:blipFill>
        <p:spPr/>
      </p:pic>
    </p:spTree>
    <p:extLst>
      <p:ext uri="{BB962C8B-B14F-4D97-AF65-F5344CB8AC3E}">
        <p14:creationId xmlns:p14="http://schemas.microsoft.com/office/powerpoint/2010/main" val="1893879556"/>
      </p:ext>
    </p:extLst>
  </p:cSld>
  <p:clrMapOvr>
    <a:masterClrMapping/>
  </p:clrMapOvr>
</p:sld>
</file>

<file path=ppt/slides/slide7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Рисунок 9"/>
          <p:cNvPicPr>
            <a:picLocks noChangeAspect="1" noGrp="1"/>
          </p:cNvPicPr>
          <p:nvPr>
            <p:ph idx="1" type="pic"/>
          </p:nvPr>
        </p:nvPicPr>
        <p:blipFill>
          <a:blip cstate="print"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34"/>
          <a:stretch>
            <a:fillRect/>
          </a:stretch>
        </p:blipFill>
        <p:spPr/>
      </p:pic>
      <p:sp>
        <p:nvSpPr>
          <p:cNvPr id="38" name="Заголовок 1"/>
          <p:cNvSpPr txBox="1">
            <a:spLocks/>
          </p:cNvSpPr>
          <p:nvPr/>
        </p:nvSpPr>
        <p:spPr>
          <a:xfrm>
            <a:off x="3935760" y="404664"/>
            <a:ext cx="6264696" cy="576064"/>
          </a:xfrm>
          <a:prstGeom prst="rect">
            <a:avLst/>
          </a:prstGeom>
        </p:spPr>
        <p:txBody>
          <a:bodyPr>
            <a:normAutofit lnSpcReduction="10000"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1" baseline="0" cap="none" dirty="0" i="0" kern="1200" kumimoji="0" lang="ru-RU" noProof="0" normalizeH="0" spc="0" strike="noStrike" sz="32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39" name="Заголовок 1"/>
          <p:cNvSpPr txBox="1">
            <a:spLocks/>
          </p:cNvSpPr>
          <p:nvPr/>
        </p:nvSpPr>
        <p:spPr>
          <a:xfrm>
            <a:off x="3086164" y="2571415"/>
            <a:ext cx="5997374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Цемент и щебень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14" name="Заголовок 1"/>
          <p:cNvSpPr txBox="1">
            <a:spLocks/>
          </p:cNvSpPr>
          <p:nvPr/>
        </p:nvSpPr>
        <p:spPr>
          <a:xfrm>
            <a:off x="4804048" y="345531"/>
            <a:ext cx="4496308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r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1" baseline="0" cap="none" dirty="0" i="0" kern="1200" kumimoji="0" lang="ru-RU" noProof="0" normalizeH="0" spc="0" strike="noStrike" sz="32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Экспорт в Россию</a:t>
            </a:r>
          </a:p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b="1" baseline="0" cap="none" dirty="0" i="0" kern="1200" kumimoji="0" lang="ru-RU" noProof="0" normalizeH="0" spc="0" strike="noStrike" sz="44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pic>
        <p:nvPicPr>
          <p:cNvPr id="29" name="Рисунок 28"/>
          <p:cNvPicPr>
            <a:picLocks noChangeAspect="1" noGrp="1"/>
          </p:cNvPicPr>
          <p:nvPr>
            <p:ph idx="1" type="pic"/>
          </p:nvPr>
        </p:nvPicPr>
        <p:blipFill>
          <a:blip cstate="print"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6"/>
          <a:stretch>
            <a:fillRect/>
          </a:stretch>
        </p:blipFill>
        <p:spPr/>
      </p:pic>
      <p:sp>
        <p:nvSpPr>
          <p:cNvPr id="40" name="Заголовок 1"/>
          <p:cNvSpPr txBox="1">
            <a:spLocks/>
          </p:cNvSpPr>
          <p:nvPr/>
        </p:nvSpPr>
        <p:spPr>
          <a:xfrm>
            <a:off x="3087688" y="1496687"/>
            <a:ext cx="6124333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Сливочное масло и сыр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41" name="Заголовок 1"/>
          <p:cNvSpPr txBox="1">
            <a:spLocks/>
          </p:cNvSpPr>
          <p:nvPr/>
        </p:nvSpPr>
        <p:spPr>
          <a:xfrm>
            <a:off x="3031668" y="3578679"/>
            <a:ext cx="4792524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Сухое молоко и сыворотка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42" name="Заголовок 1"/>
          <p:cNvSpPr txBox="1">
            <a:spLocks/>
          </p:cNvSpPr>
          <p:nvPr/>
        </p:nvSpPr>
        <p:spPr>
          <a:xfrm>
            <a:off x="3071664" y="4761148"/>
            <a:ext cx="6228692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Рапсовое масло и шрот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sp>
        <p:nvSpPr>
          <p:cNvPr id="43" name="Заголовок 1"/>
          <p:cNvSpPr txBox="1">
            <a:spLocks/>
          </p:cNvSpPr>
          <p:nvPr/>
        </p:nvSpPr>
        <p:spPr>
          <a:xfrm>
            <a:off x="3087688" y="5775102"/>
            <a:ext cx="6228692" cy="576064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algn="l" defTabSz="829544" eaLnBrk="1" fontAlgn="auto" hangingPunct="1" indent="0" latinLnBrk="1" lvl="0" marL="0" marR="0" rtl="0">
              <a:lnSpc>
                <a:spcPct val="10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j-cs"/>
                <a:sym charset="0" pitchFamily="2" typeface="Roboto"/>
              </a:rPr>
              <a:t>Кожевенная продукция</a:t>
            </a:r>
            <a:endParaRPr b="0" baseline="0" cap="none" dirty="0" i="0" kern="1200" kumimoji="0" lang="ru-RU" noProof="0" normalizeH="0" spc="0" strike="noStrike" sz="4000" u="none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/>
              <a:ea typeface="Arial Unicode MS"/>
              <a:cs typeface="+mj-cs"/>
              <a:sym charset="0" pitchFamily="2" typeface="Roboto"/>
            </a:endParaRPr>
          </a:p>
        </p:txBody>
      </p:sp>
      <p:grpSp>
        <p:nvGrpSpPr>
          <p:cNvPr id="55" name="Группа 54"/>
          <p:cNvGrpSpPr/>
          <p:nvPr/>
        </p:nvGrpSpPr>
        <p:grpSpPr>
          <a:xfrm>
            <a:off x="8757342" y="1184555"/>
            <a:ext cx="3004940" cy="1200329"/>
            <a:chOff x="4717226" y="3592803"/>
            <a:chExt cx="3959820" cy="1297701"/>
          </a:xfrm>
        </p:grpSpPr>
        <p:sp>
          <p:nvSpPr>
            <p:cNvPr id="56" name="TextBox 55"/>
            <p:cNvSpPr txBox="1"/>
            <p:nvPr/>
          </p:nvSpPr>
          <p:spPr>
            <a:xfrm>
              <a:off x="4717226" y="3592803"/>
              <a:ext cx="2488475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en-US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1</a:t>
              </a:r>
              <a:r>
                <a:rPr b="0" baseline="0" cap="none" dirty="0" i="0" kern="1200" kumimoji="0" lang="ru-RU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8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57" name="TextBox 56"/>
            <p:cNvSpPr txBox="1"/>
            <p:nvPr/>
          </p:nvSpPr>
          <p:spPr>
            <a:xfrm>
              <a:off x="7144706" y="3779080"/>
              <a:ext cx="1532340" cy="938337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</p:grpSp>
      <p:grpSp>
        <p:nvGrpSpPr>
          <p:cNvPr id="58" name="Группа 57"/>
          <p:cNvGrpSpPr/>
          <p:nvPr/>
        </p:nvGrpSpPr>
        <p:grpSpPr>
          <a:xfrm>
            <a:off x="8760296" y="2264675"/>
            <a:ext cx="3001986" cy="1200329"/>
            <a:chOff x="4717226" y="3552949"/>
            <a:chExt cx="3955927" cy="1297701"/>
          </a:xfrm>
        </p:grpSpPr>
        <p:sp>
          <p:nvSpPr>
            <p:cNvPr id="59" name="TextBox 58"/>
            <p:cNvSpPr txBox="1"/>
            <p:nvPr/>
          </p:nvSpPr>
          <p:spPr>
            <a:xfrm>
              <a:off x="4717226" y="3552949"/>
              <a:ext cx="2488475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en-US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12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60" name="TextBox 59"/>
            <p:cNvSpPr txBox="1"/>
            <p:nvPr/>
          </p:nvSpPr>
          <p:spPr>
            <a:xfrm>
              <a:off x="7140813" y="3735051"/>
              <a:ext cx="1532340" cy="938337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</p:grpSp>
      <p:grpSp>
        <p:nvGrpSpPr>
          <p:cNvPr id="64" name="Группа 63"/>
          <p:cNvGrpSpPr/>
          <p:nvPr/>
        </p:nvGrpSpPr>
        <p:grpSpPr>
          <a:xfrm>
            <a:off x="8796300" y="3320988"/>
            <a:ext cx="3008441" cy="1200329"/>
            <a:chOff x="4717226" y="3478749"/>
            <a:chExt cx="3964433" cy="1297701"/>
          </a:xfrm>
        </p:grpSpPr>
        <p:sp>
          <p:nvSpPr>
            <p:cNvPr id="65" name="TextBox 64"/>
            <p:cNvSpPr txBox="1"/>
            <p:nvPr/>
          </p:nvSpPr>
          <p:spPr>
            <a:xfrm>
              <a:off x="4717226" y="3478749"/>
              <a:ext cx="2488475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11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66" name="TextBox 65"/>
            <p:cNvSpPr txBox="1"/>
            <p:nvPr/>
          </p:nvSpPr>
          <p:spPr>
            <a:xfrm>
              <a:off x="7149319" y="3684185"/>
              <a:ext cx="1532340" cy="938337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</p:grpSp>
      <p:grpSp>
        <p:nvGrpSpPr>
          <p:cNvPr id="67" name="Группа 66"/>
          <p:cNvGrpSpPr/>
          <p:nvPr/>
        </p:nvGrpSpPr>
        <p:grpSpPr>
          <a:xfrm>
            <a:off x="8796299" y="4388911"/>
            <a:ext cx="3053713" cy="2280446"/>
            <a:chOff x="4717226" y="3477223"/>
            <a:chExt cx="4024092" cy="2465439"/>
          </a:xfrm>
        </p:grpSpPr>
        <p:sp>
          <p:nvSpPr>
            <p:cNvPr id="68" name="TextBox 67"/>
            <p:cNvSpPr txBox="1"/>
            <p:nvPr/>
          </p:nvSpPr>
          <p:spPr>
            <a:xfrm>
              <a:off x="4717226" y="3477223"/>
              <a:ext cx="2488476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en-US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3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69" name="TextBox 68"/>
            <p:cNvSpPr txBox="1"/>
            <p:nvPr/>
          </p:nvSpPr>
          <p:spPr>
            <a:xfrm>
              <a:off x="7149319" y="3671878"/>
              <a:ext cx="1532340" cy="938338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  <p:sp>
          <p:nvSpPr>
            <p:cNvPr id="71" name="TextBox 70"/>
            <p:cNvSpPr txBox="1"/>
            <p:nvPr/>
          </p:nvSpPr>
          <p:spPr>
            <a:xfrm>
              <a:off x="4748788" y="4644961"/>
              <a:ext cx="2488475" cy="1297701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r" defTabSz="1219137" eaLnBrk="1" fontAlgn="auto" hangingPunct="1" indent="0" latinLnBrk="1" lvl="0" marL="0" marR="0" rtl="0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7200" u="none">
                  <a:ln>
                    <a:noFill/>
                  </a:ln>
                  <a:solidFill>
                    <a:srgbClr val="649941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3</a:t>
              </a:r>
              <a:endParaRPr b="0" baseline="0" cap="none" dirty="0" i="0" kern="1200" kumimoji="0" lang="ru-RU" noProof="0" normalizeH="0" spc="0" strike="noStrike" sz="2000" u="none">
                <a:ln>
                  <a:noFill/>
                </a:ln>
                <a:solidFill>
                  <a:srgbClr val="649941"/>
                </a:solidFill>
                <a:effectLst/>
                <a:uLnTx/>
                <a:uFillTx/>
                <a:latin typeface="Arial"/>
                <a:ea typeface="Arial Unicode MS"/>
                <a:cs typeface="+mn-cs"/>
              </a:endParaRPr>
            </a:p>
          </p:txBody>
        </p:sp>
        <p:sp>
          <p:nvSpPr>
            <p:cNvPr id="72" name="TextBox 71"/>
            <p:cNvSpPr txBox="1"/>
            <p:nvPr/>
          </p:nvSpPr>
          <p:spPr>
            <a:xfrm>
              <a:off x="7208978" y="4833839"/>
              <a:ext cx="1532340" cy="938338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pPr algn="l" defTabSz="1219137" eaLnBrk="1" fontAlgn="auto" hangingPunct="1" indent="0" latinLnBrk="1" lvl="0" marL="0" marR="0" rtl="0">
                <a:lnSpc>
                  <a:spcPct val="9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млн </a:t>
              </a:r>
              <a:br>
                <a:rPr b="0" baseline="0" cap="none" dirty="0" i="0" kern="1200" kumimoji="0" lang="ru-RU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</a:br>
              <a:r>
                <a:rPr b="0" baseline="0" cap="none" dirty="0" i="0" kern="1200" kumimoji="0" lang="en-US" noProof="0" normalizeH="0" spc="0" strike="noStrike" sz="2800" u="none">
                  <a:ln>
                    <a:noFill/>
                  </a:ln>
                  <a:solidFill>
                    <a:prstClr val="black"/>
                  </a:solidFill>
                  <a:effectLst/>
                  <a:uLnTx/>
                  <a:uFillTx/>
                  <a:latin typeface="Arial"/>
                  <a:ea typeface="Arial Unicode MS"/>
                  <a:cs typeface="+mn-cs"/>
                  <a:sym charset="0" pitchFamily="2" typeface="Roboto"/>
                </a:rPr>
                <a:t>USD</a:t>
              </a:r>
              <a:endParaRPr b="0" baseline="0" cap="none" dirty="0" i="0" kern="1200" kumimoji="0" lang="ru-RU" noProof="0" normalizeH="0" spc="0" strike="noStrike" sz="2800" u="none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/>
                <a:ea typeface="Arial Unicode MS"/>
                <a:cs typeface="+mn-cs"/>
                <a:sym charset="0" pitchFamily="2" typeface="Roboto"/>
              </a:endParaRPr>
            </a:p>
          </p:txBody>
        </p:sp>
      </p:grpSp>
      <p:sp>
        <p:nvSpPr>
          <p:cNvPr id="2" name="Рисунок 1"/>
          <p:cNvSpPr>
            <a:spLocks noGrp="1"/>
          </p:cNvSpPr>
          <p:nvPr>
            <p:ph idx="1" type="pic"/>
          </p:nvPr>
        </p:nvSpPr>
        <p:spPr/>
      </p:sp>
      <p:pic>
        <p:nvPicPr>
          <p:cNvPr id="36" name="Рисунок 35"/>
          <p:cNvPicPr>
            <a:picLocks noChangeAspect="1" noGrp="1"/>
          </p:cNvPicPr>
          <p:nvPr>
            <p:ph idx="1" type="pic"/>
          </p:nvPr>
        </p:nvPicPr>
        <p:blipFill>
          <a:blip cstate="print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"/>
          <a:stretch>
            <a:fillRect/>
          </a:stretch>
        </p:blipFill>
        <p:spPr/>
      </p:pic>
      <p:sp>
        <p:nvSpPr>
          <p:cNvPr id="6" name="Рисунок 5"/>
          <p:cNvSpPr>
            <a:spLocks noGrp="1"/>
          </p:cNvSpPr>
          <p:nvPr>
            <p:ph idx="1" type="pic"/>
          </p:nvPr>
        </p:nvSpPr>
        <p:spPr/>
      </p:sp>
      <p:pic>
        <p:nvPicPr>
          <p:cNvPr id="11" name="Рисунок 10"/>
          <p:cNvPicPr>
            <a:picLocks noChangeAspect="1" noGrp="1"/>
          </p:cNvPicPr>
          <p:nvPr>
            <p:ph idx="1" type="pic"/>
          </p:nvPr>
        </p:nvPicPr>
        <p:blipFill>
          <a:blip cstate="print"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67"/>
          <a:stretch>
            <a:fillRect/>
          </a:stretch>
        </p:blipFill>
        <p:spPr/>
      </p:pic>
      <p:pic>
        <p:nvPicPr>
          <p:cNvPr id="46" name="Рисунок 45"/>
          <p:cNvPicPr>
            <a:picLocks noChangeAspect="1" noGrp="1"/>
          </p:cNvPicPr>
          <p:nvPr>
            <p:ph idx="1" type="pic"/>
          </p:nvPr>
        </p:nvPicPr>
        <p:blipFill>
          <a:blip cstate="print"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75"/>
          <a:stretch>
            <a:fillRect/>
          </a:stretch>
        </p:blipFill>
        <p:spPr>
          <a:xfrm>
            <a:off x="904223" y="2357979"/>
            <a:ext cx="1728192" cy="987565"/>
          </a:xfrm>
        </p:spPr>
      </p:pic>
      <p:pic>
        <p:nvPicPr>
          <p:cNvPr id="47" name="Рисунок 46"/>
          <p:cNvPicPr>
            <a:picLocks noChangeAspect="1" noGrp="1"/>
          </p:cNvPicPr>
          <p:nvPr>
            <p:ph idx="1" type="pic"/>
          </p:nvPr>
        </p:nvPicPr>
        <p:blipFill>
          <a:blip cstate="print"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146"/>
          <a:stretch>
            <a:fillRect/>
          </a:stretch>
        </p:blipFill>
        <p:spPr>
          <a:xfrm>
            <a:off x="904223" y="1340750"/>
            <a:ext cx="1728788" cy="923925"/>
          </a:xfrm>
        </p:spPr>
      </p:pic>
      <p:pic>
        <p:nvPicPr>
          <p:cNvPr id="49" name="Рисунок 48"/>
          <p:cNvPicPr>
            <a:picLocks noChangeAspect="1" noGrp="1"/>
          </p:cNvPicPr>
          <p:nvPr>
            <p:ph idx="12" type="pic"/>
          </p:nvPr>
        </p:nvPicPr>
        <p:blipFill rotWithShape="1">
          <a:blip cstate="print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-81"/>
          <a:stretch/>
        </p:blipFill>
        <p:spPr/>
      </p:pic>
      <p:sp>
        <p:nvSpPr>
          <p:cNvPr id="15" name="Рисунок 14"/>
          <p:cNvSpPr>
            <a:spLocks noGrp="1"/>
          </p:cNvSpPr>
          <p:nvPr>
            <p:ph idx="13" type="pic"/>
          </p:nvPr>
        </p:nvSpPr>
        <p:spPr/>
      </p:sp>
      <p:pic>
        <p:nvPicPr>
          <p:cNvPr id="50" name="Рисунок 49"/>
          <p:cNvPicPr>
            <a:picLocks noChangeAspect="1" noGrp="1"/>
          </p:cNvPicPr>
          <p:nvPr>
            <p:ph idx="12" type="pic"/>
          </p:nvPr>
        </p:nvPicPr>
        <p:blipFill>
          <a:blip cstate="print"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-82"/>
          <a:stretch>
            <a:fillRect/>
          </a:stretch>
        </p:blipFill>
        <p:spPr>
          <a:xfrm>
            <a:off x="923401" y="5584261"/>
            <a:ext cx="1728192" cy="954107"/>
          </a:xfrm>
        </p:spPr>
      </p:pic>
    </p:spTree>
    <p:extLst>
      <p:ext uri="{BB962C8B-B14F-4D97-AF65-F5344CB8AC3E}">
        <p14:creationId xmlns:p14="http://schemas.microsoft.com/office/powerpoint/2010/main" val="3526183003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" name="Заголовок 1"/>
          <p:cNvSpPr>
            <a:spLocks noGrp="1"/>
          </p:cNvSpPr>
          <p:nvPr>
            <p:ph type="title"/>
          </p:nvPr>
        </p:nvSpPr>
        <p:spPr>
          <a:xfrm>
            <a:off x="280096" y="1726930"/>
            <a:ext cx="4699779" cy="1749247"/>
          </a:xfrm>
        </p:spPr>
        <p:txBody>
          <a:bodyPr>
            <a:noAutofit/>
          </a:bodyPr>
          <a:lstStyle/>
          <a:p>
            <a:r>
              <a:rPr lang="ru-RU" dirty="0">
                <a:sym typeface="Roboto" pitchFamily="2" charset="0"/>
              </a:rPr>
              <a:t>Торги </a:t>
            </a:r>
            <a:br>
              <a:rPr lang="ru-RU" dirty="0">
                <a:sym typeface="Roboto" pitchFamily="2" charset="0"/>
              </a:rPr>
            </a:br>
            <a:r>
              <a:rPr lang="ru-RU" dirty="0">
                <a:sym typeface="Roboto" pitchFamily="2" charset="0"/>
              </a:rPr>
              <a:t>металлопродукцией</a:t>
            </a:r>
          </a:p>
        </p:txBody>
      </p:sp>
      <p:grpSp>
        <p:nvGrpSpPr>
          <p:cNvPr id="2" name="Группа 1"/>
          <p:cNvGrpSpPr/>
          <p:nvPr/>
        </p:nvGrpSpPr>
        <p:grpSpPr>
          <a:xfrm>
            <a:off x="6651142" y="614"/>
            <a:ext cx="1676546" cy="1791627"/>
            <a:chOff x="3820178" y="764153"/>
            <a:chExt cx="1959731" cy="2051255"/>
          </a:xfrm>
        </p:grpSpPr>
        <p:graphicFrame>
          <p:nvGraphicFramePr>
            <p:cNvPr id="33" name="Chart 7"/>
            <p:cNvGraphicFramePr/>
            <p:nvPr/>
          </p:nvGraphicFramePr>
          <p:xfrm>
            <a:off x="3820178" y="764153"/>
            <a:ext cx="1959731" cy="20512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3"/>
            </a:graphicData>
          </a:graphic>
        </p:graphicFrame>
        <p:sp>
          <p:nvSpPr>
            <p:cNvPr id="34" name="TextBox 33"/>
            <p:cNvSpPr txBox="1"/>
            <p:nvPr/>
          </p:nvSpPr>
          <p:spPr>
            <a:xfrm>
              <a:off x="4213755" y="1290626"/>
              <a:ext cx="1390710" cy="95141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altLang="ko-KR" sz="4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2</a:t>
              </a:r>
              <a:r>
                <a:rPr lang="en-US" altLang="ko-KR" sz="4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1</a:t>
              </a:r>
              <a:r>
                <a:rPr lang="en-US" altLang="ko-KR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%</a:t>
              </a:r>
              <a:endPara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D92A654B-6D85-4C0C-84B7-DEEA7E085B71}"/>
              </a:ext>
            </a:extLst>
          </p:cNvPr>
          <p:cNvSpPr txBox="1"/>
          <p:nvPr/>
        </p:nvSpPr>
        <p:spPr>
          <a:xfrm>
            <a:off x="6096000" y="3177695"/>
            <a:ext cx="2736304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dirty="0">
                <a:solidFill>
                  <a:schemeClr val="accent1"/>
                </a:solidFill>
              </a:rPr>
              <a:t>4 000</a:t>
            </a:r>
            <a:endParaRPr lang="ru-RU" dirty="0">
              <a:solidFill>
                <a:schemeClr val="accent1"/>
              </a:solidFill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885FFF01-EBAD-4D06-B554-249223C4644D}"/>
              </a:ext>
            </a:extLst>
          </p:cNvPr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265892" y="3094575"/>
            <a:ext cx="3899592" cy="2734061"/>
          </a:xfrm>
          <a:prstGeom prst="rect">
            <a:avLst/>
          </a:prstGeom>
        </p:spPr>
      </p:pic>
      <p:sp>
        <p:nvSpPr>
          <p:cNvPr id="5" name="TextBox 4"/>
          <p:cNvSpPr txBox="1"/>
          <p:nvPr/>
        </p:nvSpPr>
        <p:spPr>
          <a:xfrm>
            <a:off x="9228348" y="1196752"/>
            <a:ext cx="184731" cy="46166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ru-RU" dirty="0"/>
          </a:p>
        </p:txBody>
      </p:sp>
      <p:sp>
        <p:nvSpPr>
          <p:cNvPr id="6" name="TextBox 5"/>
          <p:cNvSpPr txBox="1"/>
          <p:nvPr/>
        </p:nvSpPr>
        <p:spPr>
          <a:xfrm>
            <a:off x="8627908" y="508996"/>
            <a:ext cx="2628935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оля в биржевом товарообороте</a:t>
            </a:r>
          </a:p>
        </p:txBody>
      </p:sp>
      <p:sp>
        <p:nvSpPr>
          <p:cNvPr id="22" name="TextBox 21"/>
          <p:cNvSpPr txBox="1"/>
          <p:nvPr/>
        </p:nvSpPr>
        <p:spPr>
          <a:xfrm>
            <a:off x="8940316" y="3356992"/>
            <a:ext cx="29163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наименований</a:t>
            </a:r>
            <a:br>
              <a:rPr lang="ru-RU" dirty="0"/>
            </a:br>
            <a:r>
              <a:rPr lang="ru-RU" dirty="0"/>
              <a:t>металлопродукции</a:t>
            </a:r>
          </a:p>
        </p:txBody>
      </p:sp>
      <p:sp>
        <p:nvSpPr>
          <p:cNvPr id="24" name="TextBox 23">
            <a:extLst>
              <a:ext uri="{FF2B5EF4-FFF2-40B4-BE49-F238E27FC236}">
                <a16:creationId xmlns:a16="http://schemas.microsoft.com/office/drawing/2014/main" id="{D92A654B-6D85-4C0C-84B7-DEEA7E085B71}"/>
              </a:ext>
            </a:extLst>
          </p:cNvPr>
          <p:cNvSpPr txBox="1"/>
          <p:nvPr/>
        </p:nvSpPr>
        <p:spPr>
          <a:xfrm>
            <a:off x="6852084" y="4263265"/>
            <a:ext cx="2232248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dirty="0">
                <a:solidFill>
                  <a:schemeClr val="accent1"/>
                </a:solidFill>
              </a:rPr>
              <a:t>800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27" name="TextBox 26">
            <a:extLst>
              <a:ext uri="{FF2B5EF4-FFF2-40B4-BE49-F238E27FC236}">
                <a16:creationId xmlns:a16="http://schemas.microsoft.com/office/drawing/2014/main" id="{D92A654B-6D85-4C0C-84B7-DEEA7E085B71}"/>
              </a:ext>
            </a:extLst>
          </p:cNvPr>
          <p:cNvSpPr txBox="1"/>
          <p:nvPr/>
        </p:nvSpPr>
        <p:spPr>
          <a:xfrm>
            <a:off x="5016099" y="5415405"/>
            <a:ext cx="3899592" cy="132343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sz="8000" dirty="0">
                <a:solidFill>
                  <a:schemeClr val="accent1"/>
                </a:solidFill>
              </a:rPr>
              <a:t>250 0</a:t>
            </a:r>
            <a:r>
              <a:rPr lang="en-US" sz="8000" dirty="0">
                <a:solidFill>
                  <a:schemeClr val="accent1"/>
                </a:solidFill>
              </a:rPr>
              <a:t>0</a:t>
            </a:r>
            <a:r>
              <a:rPr lang="ru-RU" sz="8000" dirty="0">
                <a:solidFill>
                  <a:schemeClr val="accent1"/>
                </a:solidFill>
              </a:rPr>
              <a:t>0</a:t>
            </a:r>
            <a:endParaRPr lang="ru-RU" dirty="0">
              <a:solidFill>
                <a:schemeClr val="accent1"/>
              </a:solidFill>
            </a:endParaRPr>
          </a:p>
        </p:txBody>
      </p:sp>
      <p:sp>
        <p:nvSpPr>
          <p:cNvPr id="28" name="TextBox 27"/>
          <p:cNvSpPr txBox="1"/>
          <p:nvPr/>
        </p:nvSpPr>
        <p:spPr>
          <a:xfrm>
            <a:off x="8925834" y="4509487"/>
            <a:ext cx="2916324" cy="830997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участников </a:t>
            </a:r>
            <a:br>
              <a:rPr lang="ru-RU" dirty="0"/>
            </a:br>
            <a:r>
              <a:rPr lang="ru-RU" dirty="0"/>
              <a:t>в каждых торгах</a:t>
            </a:r>
          </a:p>
        </p:txBody>
      </p:sp>
      <p:sp>
        <p:nvSpPr>
          <p:cNvPr id="29" name="TextBox 28"/>
          <p:cNvSpPr txBox="1"/>
          <p:nvPr/>
        </p:nvSpPr>
        <p:spPr>
          <a:xfrm>
            <a:off x="8940316" y="5832926"/>
            <a:ext cx="2432611" cy="4616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сделок в год</a:t>
            </a:r>
          </a:p>
        </p:txBody>
      </p:sp>
      <p:grpSp>
        <p:nvGrpSpPr>
          <p:cNvPr id="19" name="Group 236"/>
          <p:cNvGrpSpPr>
            <a:grpSpLocks noChangeAspect="1"/>
          </p:cNvGrpSpPr>
          <p:nvPr/>
        </p:nvGrpSpPr>
        <p:grpSpPr bwMode="auto">
          <a:xfrm>
            <a:off x="813689" y="4833156"/>
            <a:ext cx="686261" cy="683402"/>
            <a:chOff x="2161" y="3928"/>
            <a:chExt cx="240" cy="239"/>
          </a:xfrm>
          <a:solidFill>
            <a:srgbClr val="495F17"/>
          </a:solidFill>
        </p:grpSpPr>
        <p:sp>
          <p:nvSpPr>
            <p:cNvPr id="20" name="Freeform 238"/>
            <p:cNvSpPr>
              <a:spLocks/>
            </p:cNvSpPr>
            <p:nvPr/>
          </p:nvSpPr>
          <p:spPr bwMode="auto">
            <a:xfrm>
              <a:off x="2161" y="3928"/>
              <a:ext cx="171" cy="112"/>
            </a:xfrm>
            <a:custGeom>
              <a:avLst/>
              <a:gdLst>
                <a:gd name="T0" fmla="*/ 1788 w 2390"/>
                <a:gd name="T1" fmla="*/ 5 h 1562"/>
                <a:gd name="T2" fmla="*/ 1987 w 2390"/>
                <a:gd name="T3" fmla="*/ 33 h 1562"/>
                <a:gd name="T4" fmla="*/ 2188 w 2390"/>
                <a:gd name="T5" fmla="*/ 84 h 1562"/>
                <a:gd name="T6" fmla="*/ 2390 w 2390"/>
                <a:gd name="T7" fmla="*/ 158 h 1562"/>
                <a:gd name="T8" fmla="*/ 2294 w 2390"/>
                <a:gd name="T9" fmla="*/ 362 h 1562"/>
                <a:gd name="T10" fmla="*/ 2154 w 2390"/>
                <a:gd name="T11" fmla="*/ 423 h 1562"/>
                <a:gd name="T12" fmla="*/ 1966 w 2390"/>
                <a:gd name="T13" fmla="*/ 368 h 1562"/>
                <a:gd name="T14" fmla="*/ 1780 w 2390"/>
                <a:gd name="T15" fmla="*/ 340 h 1562"/>
                <a:gd name="T16" fmla="*/ 1597 w 2390"/>
                <a:gd name="T17" fmla="*/ 339 h 1562"/>
                <a:gd name="T18" fmla="*/ 1419 w 2390"/>
                <a:gd name="T19" fmla="*/ 363 h 1562"/>
                <a:gd name="T20" fmla="*/ 1249 w 2390"/>
                <a:gd name="T21" fmla="*/ 408 h 1562"/>
                <a:gd name="T22" fmla="*/ 1087 w 2390"/>
                <a:gd name="T23" fmla="*/ 476 h 1562"/>
                <a:gd name="T24" fmla="*/ 936 w 2390"/>
                <a:gd name="T25" fmla="*/ 561 h 1562"/>
                <a:gd name="T26" fmla="*/ 798 w 2390"/>
                <a:gd name="T27" fmla="*/ 665 h 1562"/>
                <a:gd name="T28" fmla="*/ 675 w 2390"/>
                <a:gd name="T29" fmla="*/ 785 h 1562"/>
                <a:gd name="T30" fmla="*/ 567 w 2390"/>
                <a:gd name="T31" fmla="*/ 918 h 1562"/>
                <a:gd name="T32" fmla="*/ 477 w 2390"/>
                <a:gd name="T33" fmla="*/ 1065 h 1562"/>
                <a:gd name="T34" fmla="*/ 407 w 2390"/>
                <a:gd name="T35" fmla="*/ 1222 h 1562"/>
                <a:gd name="T36" fmla="*/ 359 w 2390"/>
                <a:gd name="T37" fmla="*/ 1388 h 1562"/>
                <a:gd name="T38" fmla="*/ 335 w 2390"/>
                <a:gd name="T39" fmla="*/ 1562 h 1562"/>
                <a:gd name="T40" fmla="*/ 114 w 2390"/>
                <a:gd name="T41" fmla="*/ 1543 h 1562"/>
                <a:gd name="T42" fmla="*/ 14 w 2390"/>
                <a:gd name="T43" fmla="*/ 1435 h 1562"/>
                <a:gd name="T44" fmla="*/ 55 w 2390"/>
                <a:gd name="T45" fmla="*/ 1246 h 1562"/>
                <a:gd name="T46" fmla="*/ 112 w 2390"/>
                <a:gd name="T47" fmla="*/ 1068 h 1562"/>
                <a:gd name="T48" fmla="*/ 186 w 2390"/>
                <a:gd name="T49" fmla="*/ 901 h 1562"/>
                <a:gd name="T50" fmla="*/ 277 w 2390"/>
                <a:gd name="T51" fmla="*/ 745 h 1562"/>
                <a:gd name="T52" fmla="*/ 386 w 2390"/>
                <a:gd name="T53" fmla="*/ 601 h 1562"/>
                <a:gd name="T54" fmla="*/ 513 w 2390"/>
                <a:gd name="T55" fmla="*/ 468 h 1562"/>
                <a:gd name="T56" fmla="*/ 656 w 2390"/>
                <a:gd name="T57" fmla="*/ 348 h 1562"/>
                <a:gd name="T58" fmla="*/ 819 w 2390"/>
                <a:gd name="T59" fmla="*/ 240 h 1562"/>
                <a:gd name="T60" fmla="*/ 1009 w 2390"/>
                <a:gd name="T61" fmla="*/ 142 h 1562"/>
                <a:gd name="T62" fmla="*/ 1201 w 2390"/>
                <a:gd name="T63" fmla="*/ 69 h 1562"/>
                <a:gd name="T64" fmla="*/ 1395 w 2390"/>
                <a:gd name="T65" fmla="*/ 22 h 1562"/>
                <a:gd name="T66" fmla="*/ 1591 w 2390"/>
                <a:gd name="T67" fmla="*/ 2 h 1562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</a:cxnLst>
              <a:rect l="0" t="0" r="r" b="b"/>
              <a:pathLst>
                <a:path w="2390" h="1562">
                  <a:moveTo>
                    <a:pt x="1689" y="0"/>
                  </a:moveTo>
                  <a:lnTo>
                    <a:pt x="1788" y="5"/>
                  </a:lnTo>
                  <a:lnTo>
                    <a:pt x="1887" y="16"/>
                  </a:lnTo>
                  <a:lnTo>
                    <a:pt x="1987" y="33"/>
                  </a:lnTo>
                  <a:lnTo>
                    <a:pt x="2087" y="55"/>
                  </a:lnTo>
                  <a:lnTo>
                    <a:pt x="2188" y="84"/>
                  </a:lnTo>
                  <a:lnTo>
                    <a:pt x="2288" y="118"/>
                  </a:lnTo>
                  <a:lnTo>
                    <a:pt x="2390" y="158"/>
                  </a:lnTo>
                  <a:lnTo>
                    <a:pt x="2341" y="261"/>
                  </a:lnTo>
                  <a:lnTo>
                    <a:pt x="2294" y="362"/>
                  </a:lnTo>
                  <a:lnTo>
                    <a:pt x="2248" y="460"/>
                  </a:lnTo>
                  <a:lnTo>
                    <a:pt x="2154" y="423"/>
                  </a:lnTo>
                  <a:lnTo>
                    <a:pt x="2060" y="391"/>
                  </a:lnTo>
                  <a:lnTo>
                    <a:pt x="1966" y="368"/>
                  </a:lnTo>
                  <a:lnTo>
                    <a:pt x="1872" y="350"/>
                  </a:lnTo>
                  <a:lnTo>
                    <a:pt x="1780" y="340"/>
                  </a:lnTo>
                  <a:lnTo>
                    <a:pt x="1688" y="336"/>
                  </a:lnTo>
                  <a:lnTo>
                    <a:pt x="1597" y="339"/>
                  </a:lnTo>
                  <a:lnTo>
                    <a:pt x="1507" y="348"/>
                  </a:lnTo>
                  <a:lnTo>
                    <a:pt x="1419" y="363"/>
                  </a:lnTo>
                  <a:lnTo>
                    <a:pt x="1333" y="383"/>
                  </a:lnTo>
                  <a:lnTo>
                    <a:pt x="1249" y="408"/>
                  </a:lnTo>
                  <a:lnTo>
                    <a:pt x="1167" y="439"/>
                  </a:lnTo>
                  <a:lnTo>
                    <a:pt x="1087" y="476"/>
                  </a:lnTo>
                  <a:lnTo>
                    <a:pt x="1011" y="516"/>
                  </a:lnTo>
                  <a:lnTo>
                    <a:pt x="936" y="561"/>
                  </a:lnTo>
                  <a:lnTo>
                    <a:pt x="866" y="611"/>
                  </a:lnTo>
                  <a:lnTo>
                    <a:pt x="798" y="665"/>
                  </a:lnTo>
                  <a:lnTo>
                    <a:pt x="734" y="723"/>
                  </a:lnTo>
                  <a:lnTo>
                    <a:pt x="675" y="785"/>
                  </a:lnTo>
                  <a:lnTo>
                    <a:pt x="619" y="850"/>
                  </a:lnTo>
                  <a:lnTo>
                    <a:pt x="567" y="918"/>
                  </a:lnTo>
                  <a:lnTo>
                    <a:pt x="520" y="991"/>
                  </a:lnTo>
                  <a:lnTo>
                    <a:pt x="477" y="1065"/>
                  </a:lnTo>
                  <a:lnTo>
                    <a:pt x="440" y="1142"/>
                  </a:lnTo>
                  <a:lnTo>
                    <a:pt x="407" y="1222"/>
                  </a:lnTo>
                  <a:lnTo>
                    <a:pt x="381" y="1304"/>
                  </a:lnTo>
                  <a:lnTo>
                    <a:pt x="359" y="1388"/>
                  </a:lnTo>
                  <a:lnTo>
                    <a:pt x="344" y="1474"/>
                  </a:lnTo>
                  <a:lnTo>
                    <a:pt x="335" y="1562"/>
                  </a:lnTo>
                  <a:lnTo>
                    <a:pt x="225" y="1553"/>
                  </a:lnTo>
                  <a:lnTo>
                    <a:pt x="114" y="1543"/>
                  </a:lnTo>
                  <a:lnTo>
                    <a:pt x="0" y="1533"/>
                  </a:lnTo>
                  <a:lnTo>
                    <a:pt x="14" y="1435"/>
                  </a:lnTo>
                  <a:lnTo>
                    <a:pt x="33" y="1339"/>
                  </a:lnTo>
                  <a:lnTo>
                    <a:pt x="55" y="1246"/>
                  </a:lnTo>
                  <a:lnTo>
                    <a:pt x="82" y="1156"/>
                  </a:lnTo>
                  <a:lnTo>
                    <a:pt x="112" y="1068"/>
                  </a:lnTo>
                  <a:lnTo>
                    <a:pt x="147" y="983"/>
                  </a:lnTo>
                  <a:lnTo>
                    <a:pt x="186" y="901"/>
                  </a:lnTo>
                  <a:lnTo>
                    <a:pt x="230" y="822"/>
                  </a:lnTo>
                  <a:lnTo>
                    <a:pt x="277" y="745"/>
                  </a:lnTo>
                  <a:lnTo>
                    <a:pt x="329" y="672"/>
                  </a:lnTo>
                  <a:lnTo>
                    <a:pt x="386" y="601"/>
                  </a:lnTo>
                  <a:lnTo>
                    <a:pt x="447" y="534"/>
                  </a:lnTo>
                  <a:lnTo>
                    <a:pt x="513" y="468"/>
                  </a:lnTo>
                  <a:lnTo>
                    <a:pt x="582" y="407"/>
                  </a:lnTo>
                  <a:lnTo>
                    <a:pt x="656" y="348"/>
                  </a:lnTo>
                  <a:lnTo>
                    <a:pt x="735" y="293"/>
                  </a:lnTo>
                  <a:lnTo>
                    <a:pt x="819" y="240"/>
                  </a:lnTo>
                  <a:lnTo>
                    <a:pt x="914" y="187"/>
                  </a:lnTo>
                  <a:lnTo>
                    <a:pt x="1009" y="142"/>
                  </a:lnTo>
                  <a:lnTo>
                    <a:pt x="1105" y="102"/>
                  </a:lnTo>
                  <a:lnTo>
                    <a:pt x="1201" y="69"/>
                  </a:lnTo>
                  <a:lnTo>
                    <a:pt x="1298" y="43"/>
                  </a:lnTo>
                  <a:lnTo>
                    <a:pt x="1395" y="22"/>
                  </a:lnTo>
                  <a:lnTo>
                    <a:pt x="1493" y="9"/>
                  </a:lnTo>
                  <a:lnTo>
                    <a:pt x="1591" y="2"/>
                  </a:lnTo>
                  <a:lnTo>
                    <a:pt x="1689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3" name="Freeform 239"/>
            <p:cNvSpPr>
              <a:spLocks/>
            </p:cNvSpPr>
            <p:nvPr/>
          </p:nvSpPr>
          <p:spPr bwMode="auto">
            <a:xfrm>
              <a:off x="2289" y="4027"/>
              <a:ext cx="112" cy="140"/>
            </a:xfrm>
            <a:custGeom>
              <a:avLst/>
              <a:gdLst>
                <a:gd name="T0" fmla="*/ 1538 w 1562"/>
                <a:gd name="T1" fmla="*/ 0 h 1954"/>
                <a:gd name="T2" fmla="*/ 1552 w 1562"/>
                <a:gd name="T3" fmla="*/ 104 h 1954"/>
                <a:gd name="T4" fmla="*/ 1560 w 1562"/>
                <a:gd name="T5" fmla="*/ 204 h 1954"/>
                <a:gd name="T6" fmla="*/ 1562 w 1562"/>
                <a:gd name="T7" fmla="*/ 303 h 1954"/>
                <a:gd name="T8" fmla="*/ 1559 w 1562"/>
                <a:gd name="T9" fmla="*/ 401 h 1954"/>
                <a:gd name="T10" fmla="*/ 1550 w 1562"/>
                <a:gd name="T11" fmla="*/ 497 h 1954"/>
                <a:gd name="T12" fmla="*/ 1535 w 1562"/>
                <a:gd name="T13" fmla="*/ 589 h 1954"/>
                <a:gd name="T14" fmla="*/ 1517 w 1562"/>
                <a:gd name="T15" fmla="*/ 680 h 1954"/>
                <a:gd name="T16" fmla="*/ 1494 w 1562"/>
                <a:gd name="T17" fmla="*/ 769 h 1954"/>
                <a:gd name="T18" fmla="*/ 1465 w 1562"/>
                <a:gd name="T19" fmla="*/ 855 h 1954"/>
                <a:gd name="T20" fmla="*/ 1432 w 1562"/>
                <a:gd name="T21" fmla="*/ 939 h 1954"/>
                <a:gd name="T22" fmla="*/ 1395 w 1562"/>
                <a:gd name="T23" fmla="*/ 1019 h 1954"/>
                <a:gd name="T24" fmla="*/ 1355 w 1562"/>
                <a:gd name="T25" fmla="*/ 1097 h 1954"/>
                <a:gd name="T26" fmla="*/ 1311 w 1562"/>
                <a:gd name="T27" fmla="*/ 1173 h 1954"/>
                <a:gd name="T28" fmla="*/ 1263 w 1562"/>
                <a:gd name="T29" fmla="*/ 1245 h 1954"/>
                <a:gd name="T30" fmla="*/ 1212 w 1562"/>
                <a:gd name="T31" fmla="*/ 1315 h 1954"/>
                <a:gd name="T32" fmla="*/ 1157 w 1562"/>
                <a:gd name="T33" fmla="*/ 1382 h 1954"/>
                <a:gd name="T34" fmla="*/ 1099 w 1562"/>
                <a:gd name="T35" fmla="*/ 1445 h 1954"/>
                <a:gd name="T36" fmla="*/ 1039 w 1562"/>
                <a:gd name="T37" fmla="*/ 1505 h 1954"/>
                <a:gd name="T38" fmla="*/ 977 w 1562"/>
                <a:gd name="T39" fmla="*/ 1562 h 1954"/>
                <a:gd name="T40" fmla="*/ 913 w 1562"/>
                <a:gd name="T41" fmla="*/ 1615 h 1954"/>
                <a:gd name="T42" fmla="*/ 845 w 1562"/>
                <a:gd name="T43" fmla="*/ 1665 h 1954"/>
                <a:gd name="T44" fmla="*/ 776 w 1562"/>
                <a:gd name="T45" fmla="*/ 1711 h 1954"/>
                <a:gd name="T46" fmla="*/ 705 w 1562"/>
                <a:gd name="T47" fmla="*/ 1753 h 1954"/>
                <a:gd name="T48" fmla="*/ 634 w 1562"/>
                <a:gd name="T49" fmla="*/ 1792 h 1954"/>
                <a:gd name="T50" fmla="*/ 560 w 1562"/>
                <a:gd name="T51" fmla="*/ 1827 h 1954"/>
                <a:gd name="T52" fmla="*/ 486 w 1562"/>
                <a:gd name="T53" fmla="*/ 1858 h 1954"/>
                <a:gd name="T54" fmla="*/ 410 w 1562"/>
                <a:gd name="T55" fmla="*/ 1884 h 1954"/>
                <a:gd name="T56" fmla="*/ 335 w 1562"/>
                <a:gd name="T57" fmla="*/ 1907 h 1954"/>
                <a:gd name="T58" fmla="*/ 258 w 1562"/>
                <a:gd name="T59" fmla="*/ 1925 h 1954"/>
                <a:gd name="T60" fmla="*/ 182 w 1562"/>
                <a:gd name="T61" fmla="*/ 1939 h 1954"/>
                <a:gd name="T62" fmla="*/ 105 w 1562"/>
                <a:gd name="T63" fmla="*/ 1949 h 1954"/>
                <a:gd name="T64" fmla="*/ 28 w 1562"/>
                <a:gd name="T65" fmla="*/ 1954 h 1954"/>
                <a:gd name="T66" fmla="*/ 14 w 1562"/>
                <a:gd name="T67" fmla="*/ 1792 h 1954"/>
                <a:gd name="T68" fmla="*/ 0 w 1562"/>
                <a:gd name="T69" fmla="*/ 1628 h 1954"/>
                <a:gd name="T70" fmla="*/ 89 w 1562"/>
                <a:gd name="T71" fmla="*/ 1616 h 1954"/>
                <a:gd name="T72" fmla="*/ 174 w 1562"/>
                <a:gd name="T73" fmla="*/ 1599 h 1954"/>
                <a:gd name="T74" fmla="*/ 258 w 1562"/>
                <a:gd name="T75" fmla="*/ 1578 h 1954"/>
                <a:gd name="T76" fmla="*/ 339 w 1562"/>
                <a:gd name="T77" fmla="*/ 1553 h 1954"/>
                <a:gd name="T78" fmla="*/ 417 w 1562"/>
                <a:gd name="T79" fmla="*/ 1522 h 1954"/>
                <a:gd name="T80" fmla="*/ 493 w 1562"/>
                <a:gd name="T81" fmla="*/ 1487 h 1954"/>
                <a:gd name="T82" fmla="*/ 566 w 1562"/>
                <a:gd name="T83" fmla="*/ 1448 h 1954"/>
                <a:gd name="T84" fmla="*/ 637 w 1562"/>
                <a:gd name="T85" fmla="*/ 1403 h 1954"/>
                <a:gd name="T86" fmla="*/ 704 w 1562"/>
                <a:gd name="T87" fmla="*/ 1354 h 1954"/>
                <a:gd name="T88" fmla="*/ 769 w 1562"/>
                <a:gd name="T89" fmla="*/ 1300 h 1954"/>
                <a:gd name="T90" fmla="*/ 831 w 1562"/>
                <a:gd name="T91" fmla="*/ 1241 h 1954"/>
                <a:gd name="T92" fmla="*/ 890 w 1562"/>
                <a:gd name="T93" fmla="*/ 1178 h 1954"/>
                <a:gd name="T94" fmla="*/ 946 w 1562"/>
                <a:gd name="T95" fmla="*/ 1109 h 1954"/>
                <a:gd name="T96" fmla="*/ 999 w 1562"/>
                <a:gd name="T97" fmla="*/ 1037 h 1954"/>
                <a:gd name="T98" fmla="*/ 1046 w 1562"/>
                <a:gd name="T99" fmla="*/ 964 h 1954"/>
                <a:gd name="T100" fmla="*/ 1087 w 1562"/>
                <a:gd name="T101" fmla="*/ 889 h 1954"/>
                <a:gd name="T102" fmla="*/ 1123 w 1562"/>
                <a:gd name="T103" fmla="*/ 812 h 1954"/>
                <a:gd name="T104" fmla="*/ 1154 w 1562"/>
                <a:gd name="T105" fmla="*/ 734 h 1954"/>
                <a:gd name="T106" fmla="*/ 1179 w 1562"/>
                <a:gd name="T107" fmla="*/ 655 h 1954"/>
                <a:gd name="T108" fmla="*/ 1198 w 1562"/>
                <a:gd name="T109" fmla="*/ 573 h 1954"/>
                <a:gd name="T110" fmla="*/ 1213 w 1562"/>
                <a:gd name="T111" fmla="*/ 491 h 1954"/>
                <a:gd name="T112" fmla="*/ 1222 w 1562"/>
                <a:gd name="T113" fmla="*/ 407 h 1954"/>
                <a:gd name="T114" fmla="*/ 1226 w 1562"/>
                <a:gd name="T115" fmla="*/ 322 h 1954"/>
                <a:gd name="T116" fmla="*/ 1226 w 1562"/>
                <a:gd name="T117" fmla="*/ 235 h 1954"/>
                <a:gd name="T118" fmla="*/ 1220 w 1562"/>
                <a:gd name="T119" fmla="*/ 146 h 1954"/>
                <a:gd name="T120" fmla="*/ 1209 w 1562"/>
                <a:gd name="T121" fmla="*/ 57 h 1954"/>
                <a:gd name="T122" fmla="*/ 1375 w 1562"/>
                <a:gd name="T123" fmla="*/ 28 h 1954"/>
                <a:gd name="T124" fmla="*/ 1538 w 1562"/>
                <a:gd name="T125" fmla="*/ 0 h 195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  <a:cxn ang="0">
                  <a:pos x="T116" y="T117"/>
                </a:cxn>
                <a:cxn ang="0">
                  <a:pos x="T118" y="T119"/>
                </a:cxn>
                <a:cxn ang="0">
                  <a:pos x="T120" y="T121"/>
                </a:cxn>
                <a:cxn ang="0">
                  <a:pos x="T122" y="T123"/>
                </a:cxn>
                <a:cxn ang="0">
                  <a:pos x="T124" y="T125"/>
                </a:cxn>
              </a:cxnLst>
              <a:rect l="0" t="0" r="r" b="b"/>
              <a:pathLst>
                <a:path w="1562" h="1954">
                  <a:moveTo>
                    <a:pt x="1538" y="0"/>
                  </a:moveTo>
                  <a:lnTo>
                    <a:pt x="1552" y="104"/>
                  </a:lnTo>
                  <a:lnTo>
                    <a:pt x="1560" y="204"/>
                  </a:lnTo>
                  <a:lnTo>
                    <a:pt x="1562" y="303"/>
                  </a:lnTo>
                  <a:lnTo>
                    <a:pt x="1559" y="401"/>
                  </a:lnTo>
                  <a:lnTo>
                    <a:pt x="1550" y="497"/>
                  </a:lnTo>
                  <a:lnTo>
                    <a:pt x="1535" y="589"/>
                  </a:lnTo>
                  <a:lnTo>
                    <a:pt x="1517" y="680"/>
                  </a:lnTo>
                  <a:lnTo>
                    <a:pt x="1494" y="769"/>
                  </a:lnTo>
                  <a:lnTo>
                    <a:pt x="1465" y="855"/>
                  </a:lnTo>
                  <a:lnTo>
                    <a:pt x="1432" y="939"/>
                  </a:lnTo>
                  <a:lnTo>
                    <a:pt x="1395" y="1019"/>
                  </a:lnTo>
                  <a:lnTo>
                    <a:pt x="1355" y="1097"/>
                  </a:lnTo>
                  <a:lnTo>
                    <a:pt x="1311" y="1173"/>
                  </a:lnTo>
                  <a:lnTo>
                    <a:pt x="1263" y="1245"/>
                  </a:lnTo>
                  <a:lnTo>
                    <a:pt x="1212" y="1315"/>
                  </a:lnTo>
                  <a:lnTo>
                    <a:pt x="1157" y="1382"/>
                  </a:lnTo>
                  <a:lnTo>
                    <a:pt x="1099" y="1445"/>
                  </a:lnTo>
                  <a:lnTo>
                    <a:pt x="1039" y="1505"/>
                  </a:lnTo>
                  <a:lnTo>
                    <a:pt x="977" y="1562"/>
                  </a:lnTo>
                  <a:lnTo>
                    <a:pt x="913" y="1615"/>
                  </a:lnTo>
                  <a:lnTo>
                    <a:pt x="845" y="1665"/>
                  </a:lnTo>
                  <a:lnTo>
                    <a:pt x="776" y="1711"/>
                  </a:lnTo>
                  <a:lnTo>
                    <a:pt x="705" y="1753"/>
                  </a:lnTo>
                  <a:lnTo>
                    <a:pt x="634" y="1792"/>
                  </a:lnTo>
                  <a:lnTo>
                    <a:pt x="560" y="1827"/>
                  </a:lnTo>
                  <a:lnTo>
                    <a:pt x="486" y="1858"/>
                  </a:lnTo>
                  <a:lnTo>
                    <a:pt x="410" y="1884"/>
                  </a:lnTo>
                  <a:lnTo>
                    <a:pt x="335" y="1907"/>
                  </a:lnTo>
                  <a:lnTo>
                    <a:pt x="258" y="1925"/>
                  </a:lnTo>
                  <a:lnTo>
                    <a:pt x="182" y="1939"/>
                  </a:lnTo>
                  <a:lnTo>
                    <a:pt x="105" y="1949"/>
                  </a:lnTo>
                  <a:lnTo>
                    <a:pt x="28" y="1954"/>
                  </a:lnTo>
                  <a:lnTo>
                    <a:pt x="14" y="1792"/>
                  </a:lnTo>
                  <a:lnTo>
                    <a:pt x="0" y="1628"/>
                  </a:lnTo>
                  <a:lnTo>
                    <a:pt x="89" y="1616"/>
                  </a:lnTo>
                  <a:lnTo>
                    <a:pt x="174" y="1599"/>
                  </a:lnTo>
                  <a:lnTo>
                    <a:pt x="258" y="1578"/>
                  </a:lnTo>
                  <a:lnTo>
                    <a:pt x="339" y="1553"/>
                  </a:lnTo>
                  <a:lnTo>
                    <a:pt x="417" y="1522"/>
                  </a:lnTo>
                  <a:lnTo>
                    <a:pt x="493" y="1487"/>
                  </a:lnTo>
                  <a:lnTo>
                    <a:pt x="566" y="1448"/>
                  </a:lnTo>
                  <a:lnTo>
                    <a:pt x="637" y="1403"/>
                  </a:lnTo>
                  <a:lnTo>
                    <a:pt x="704" y="1354"/>
                  </a:lnTo>
                  <a:lnTo>
                    <a:pt x="769" y="1300"/>
                  </a:lnTo>
                  <a:lnTo>
                    <a:pt x="831" y="1241"/>
                  </a:lnTo>
                  <a:lnTo>
                    <a:pt x="890" y="1178"/>
                  </a:lnTo>
                  <a:lnTo>
                    <a:pt x="946" y="1109"/>
                  </a:lnTo>
                  <a:lnTo>
                    <a:pt x="999" y="1037"/>
                  </a:lnTo>
                  <a:lnTo>
                    <a:pt x="1046" y="964"/>
                  </a:lnTo>
                  <a:lnTo>
                    <a:pt x="1087" y="889"/>
                  </a:lnTo>
                  <a:lnTo>
                    <a:pt x="1123" y="812"/>
                  </a:lnTo>
                  <a:lnTo>
                    <a:pt x="1154" y="734"/>
                  </a:lnTo>
                  <a:lnTo>
                    <a:pt x="1179" y="655"/>
                  </a:lnTo>
                  <a:lnTo>
                    <a:pt x="1198" y="573"/>
                  </a:lnTo>
                  <a:lnTo>
                    <a:pt x="1213" y="491"/>
                  </a:lnTo>
                  <a:lnTo>
                    <a:pt x="1222" y="407"/>
                  </a:lnTo>
                  <a:lnTo>
                    <a:pt x="1226" y="322"/>
                  </a:lnTo>
                  <a:lnTo>
                    <a:pt x="1226" y="235"/>
                  </a:lnTo>
                  <a:lnTo>
                    <a:pt x="1220" y="146"/>
                  </a:lnTo>
                  <a:lnTo>
                    <a:pt x="1209" y="57"/>
                  </a:lnTo>
                  <a:lnTo>
                    <a:pt x="1375" y="28"/>
                  </a:lnTo>
                  <a:lnTo>
                    <a:pt x="1538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5" name="Freeform 240"/>
            <p:cNvSpPr>
              <a:spLocks/>
            </p:cNvSpPr>
            <p:nvPr/>
          </p:nvSpPr>
          <p:spPr bwMode="auto">
            <a:xfrm>
              <a:off x="2162" y="4057"/>
              <a:ext cx="110" cy="110"/>
            </a:xfrm>
            <a:custGeom>
              <a:avLst/>
              <a:gdLst>
                <a:gd name="T0" fmla="*/ 320 w 1550"/>
                <a:gd name="T1" fmla="*/ 0 h 1551"/>
                <a:gd name="T2" fmla="*/ 338 w 1550"/>
                <a:gd name="T3" fmla="*/ 98 h 1551"/>
                <a:gd name="T4" fmla="*/ 362 w 1550"/>
                <a:gd name="T5" fmla="*/ 193 h 1551"/>
                <a:gd name="T6" fmla="*/ 388 w 1550"/>
                <a:gd name="T7" fmla="*/ 283 h 1551"/>
                <a:gd name="T8" fmla="*/ 419 w 1550"/>
                <a:gd name="T9" fmla="*/ 370 h 1551"/>
                <a:gd name="T10" fmla="*/ 453 w 1550"/>
                <a:gd name="T11" fmla="*/ 452 h 1551"/>
                <a:gd name="T12" fmla="*/ 492 w 1550"/>
                <a:gd name="T13" fmla="*/ 530 h 1551"/>
                <a:gd name="T14" fmla="*/ 535 w 1550"/>
                <a:gd name="T15" fmla="*/ 604 h 1551"/>
                <a:gd name="T16" fmla="*/ 582 w 1550"/>
                <a:gd name="T17" fmla="*/ 674 h 1551"/>
                <a:gd name="T18" fmla="*/ 632 w 1550"/>
                <a:gd name="T19" fmla="*/ 741 h 1551"/>
                <a:gd name="T20" fmla="*/ 686 w 1550"/>
                <a:gd name="T21" fmla="*/ 803 h 1551"/>
                <a:gd name="T22" fmla="*/ 745 w 1550"/>
                <a:gd name="T23" fmla="*/ 862 h 1551"/>
                <a:gd name="T24" fmla="*/ 808 w 1550"/>
                <a:gd name="T25" fmla="*/ 917 h 1551"/>
                <a:gd name="T26" fmla="*/ 874 w 1550"/>
                <a:gd name="T27" fmla="*/ 966 h 1551"/>
                <a:gd name="T28" fmla="*/ 945 w 1550"/>
                <a:gd name="T29" fmla="*/ 1013 h 1551"/>
                <a:gd name="T30" fmla="*/ 1019 w 1550"/>
                <a:gd name="T31" fmla="*/ 1055 h 1551"/>
                <a:gd name="T32" fmla="*/ 1098 w 1550"/>
                <a:gd name="T33" fmla="*/ 1094 h 1551"/>
                <a:gd name="T34" fmla="*/ 1180 w 1550"/>
                <a:gd name="T35" fmla="*/ 1128 h 1551"/>
                <a:gd name="T36" fmla="*/ 1267 w 1550"/>
                <a:gd name="T37" fmla="*/ 1159 h 1551"/>
                <a:gd name="T38" fmla="*/ 1357 w 1550"/>
                <a:gd name="T39" fmla="*/ 1185 h 1551"/>
                <a:gd name="T40" fmla="*/ 1452 w 1550"/>
                <a:gd name="T41" fmla="*/ 1208 h 1551"/>
                <a:gd name="T42" fmla="*/ 1550 w 1550"/>
                <a:gd name="T43" fmla="*/ 1227 h 1551"/>
                <a:gd name="T44" fmla="*/ 1537 w 1550"/>
                <a:gd name="T45" fmla="*/ 1387 h 1551"/>
                <a:gd name="T46" fmla="*/ 1522 w 1550"/>
                <a:gd name="T47" fmla="*/ 1551 h 1551"/>
                <a:gd name="T48" fmla="*/ 1426 w 1550"/>
                <a:gd name="T49" fmla="*/ 1540 h 1551"/>
                <a:gd name="T50" fmla="*/ 1334 w 1550"/>
                <a:gd name="T51" fmla="*/ 1524 h 1551"/>
                <a:gd name="T52" fmla="*/ 1244 w 1550"/>
                <a:gd name="T53" fmla="*/ 1504 h 1551"/>
                <a:gd name="T54" fmla="*/ 1156 w 1550"/>
                <a:gd name="T55" fmla="*/ 1479 h 1551"/>
                <a:gd name="T56" fmla="*/ 1070 w 1550"/>
                <a:gd name="T57" fmla="*/ 1449 h 1551"/>
                <a:gd name="T58" fmla="*/ 987 w 1550"/>
                <a:gd name="T59" fmla="*/ 1415 h 1551"/>
                <a:gd name="T60" fmla="*/ 908 w 1550"/>
                <a:gd name="T61" fmla="*/ 1378 h 1551"/>
                <a:gd name="T62" fmla="*/ 831 w 1550"/>
                <a:gd name="T63" fmla="*/ 1336 h 1551"/>
                <a:gd name="T64" fmla="*/ 757 w 1550"/>
                <a:gd name="T65" fmla="*/ 1291 h 1551"/>
                <a:gd name="T66" fmla="*/ 686 w 1550"/>
                <a:gd name="T67" fmla="*/ 1242 h 1551"/>
                <a:gd name="T68" fmla="*/ 618 w 1550"/>
                <a:gd name="T69" fmla="*/ 1190 h 1551"/>
                <a:gd name="T70" fmla="*/ 554 w 1550"/>
                <a:gd name="T71" fmla="*/ 1135 h 1551"/>
                <a:gd name="T72" fmla="*/ 491 w 1550"/>
                <a:gd name="T73" fmla="*/ 1077 h 1551"/>
                <a:gd name="T74" fmla="*/ 433 w 1550"/>
                <a:gd name="T75" fmla="*/ 1017 h 1551"/>
                <a:gd name="T76" fmla="*/ 378 w 1550"/>
                <a:gd name="T77" fmla="*/ 955 h 1551"/>
                <a:gd name="T78" fmla="*/ 326 w 1550"/>
                <a:gd name="T79" fmla="*/ 890 h 1551"/>
                <a:gd name="T80" fmla="*/ 278 w 1550"/>
                <a:gd name="T81" fmla="*/ 824 h 1551"/>
                <a:gd name="T82" fmla="*/ 234 w 1550"/>
                <a:gd name="T83" fmla="*/ 756 h 1551"/>
                <a:gd name="T84" fmla="*/ 192 w 1550"/>
                <a:gd name="T85" fmla="*/ 686 h 1551"/>
                <a:gd name="T86" fmla="*/ 155 w 1550"/>
                <a:gd name="T87" fmla="*/ 615 h 1551"/>
                <a:gd name="T88" fmla="*/ 122 w 1550"/>
                <a:gd name="T89" fmla="*/ 543 h 1551"/>
                <a:gd name="T90" fmla="*/ 92 w 1550"/>
                <a:gd name="T91" fmla="*/ 471 h 1551"/>
                <a:gd name="T92" fmla="*/ 67 w 1550"/>
                <a:gd name="T93" fmla="*/ 396 h 1551"/>
                <a:gd name="T94" fmla="*/ 45 w 1550"/>
                <a:gd name="T95" fmla="*/ 323 h 1551"/>
                <a:gd name="T96" fmla="*/ 28 w 1550"/>
                <a:gd name="T97" fmla="*/ 249 h 1551"/>
                <a:gd name="T98" fmla="*/ 13 w 1550"/>
                <a:gd name="T99" fmla="*/ 174 h 1551"/>
                <a:gd name="T100" fmla="*/ 4 w 1550"/>
                <a:gd name="T101" fmla="*/ 101 h 1551"/>
                <a:gd name="T102" fmla="*/ 0 w 1550"/>
                <a:gd name="T103" fmla="*/ 28 h 1551"/>
                <a:gd name="T104" fmla="*/ 162 w 1550"/>
                <a:gd name="T105" fmla="*/ 13 h 1551"/>
                <a:gd name="T106" fmla="*/ 320 w 1550"/>
                <a:gd name="T107" fmla="*/ 0 h 1551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</a:cxnLst>
              <a:rect l="0" t="0" r="r" b="b"/>
              <a:pathLst>
                <a:path w="1550" h="1551">
                  <a:moveTo>
                    <a:pt x="320" y="0"/>
                  </a:moveTo>
                  <a:lnTo>
                    <a:pt x="338" y="98"/>
                  </a:lnTo>
                  <a:lnTo>
                    <a:pt x="362" y="193"/>
                  </a:lnTo>
                  <a:lnTo>
                    <a:pt x="388" y="283"/>
                  </a:lnTo>
                  <a:lnTo>
                    <a:pt x="419" y="370"/>
                  </a:lnTo>
                  <a:lnTo>
                    <a:pt x="453" y="452"/>
                  </a:lnTo>
                  <a:lnTo>
                    <a:pt x="492" y="530"/>
                  </a:lnTo>
                  <a:lnTo>
                    <a:pt x="535" y="604"/>
                  </a:lnTo>
                  <a:lnTo>
                    <a:pt x="582" y="674"/>
                  </a:lnTo>
                  <a:lnTo>
                    <a:pt x="632" y="741"/>
                  </a:lnTo>
                  <a:lnTo>
                    <a:pt x="686" y="803"/>
                  </a:lnTo>
                  <a:lnTo>
                    <a:pt x="745" y="862"/>
                  </a:lnTo>
                  <a:lnTo>
                    <a:pt x="808" y="917"/>
                  </a:lnTo>
                  <a:lnTo>
                    <a:pt x="874" y="966"/>
                  </a:lnTo>
                  <a:lnTo>
                    <a:pt x="945" y="1013"/>
                  </a:lnTo>
                  <a:lnTo>
                    <a:pt x="1019" y="1055"/>
                  </a:lnTo>
                  <a:lnTo>
                    <a:pt x="1098" y="1094"/>
                  </a:lnTo>
                  <a:lnTo>
                    <a:pt x="1180" y="1128"/>
                  </a:lnTo>
                  <a:lnTo>
                    <a:pt x="1267" y="1159"/>
                  </a:lnTo>
                  <a:lnTo>
                    <a:pt x="1357" y="1185"/>
                  </a:lnTo>
                  <a:lnTo>
                    <a:pt x="1452" y="1208"/>
                  </a:lnTo>
                  <a:lnTo>
                    <a:pt x="1550" y="1227"/>
                  </a:lnTo>
                  <a:lnTo>
                    <a:pt x="1537" y="1387"/>
                  </a:lnTo>
                  <a:lnTo>
                    <a:pt x="1522" y="1551"/>
                  </a:lnTo>
                  <a:lnTo>
                    <a:pt x="1426" y="1540"/>
                  </a:lnTo>
                  <a:lnTo>
                    <a:pt x="1334" y="1524"/>
                  </a:lnTo>
                  <a:lnTo>
                    <a:pt x="1244" y="1504"/>
                  </a:lnTo>
                  <a:lnTo>
                    <a:pt x="1156" y="1479"/>
                  </a:lnTo>
                  <a:lnTo>
                    <a:pt x="1070" y="1449"/>
                  </a:lnTo>
                  <a:lnTo>
                    <a:pt x="987" y="1415"/>
                  </a:lnTo>
                  <a:lnTo>
                    <a:pt x="908" y="1378"/>
                  </a:lnTo>
                  <a:lnTo>
                    <a:pt x="831" y="1336"/>
                  </a:lnTo>
                  <a:lnTo>
                    <a:pt x="757" y="1291"/>
                  </a:lnTo>
                  <a:lnTo>
                    <a:pt x="686" y="1242"/>
                  </a:lnTo>
                  <a:lnTo>
                    <a:pt x="618" y="1190"/>
                  </a:lnTo>
                  <a:lnTo>
                    <a:pt x="554" y="1135"/>
                  </a:lnTo>
                  <a:lnTo>
                    <a:pt x="491" y="1077"/>
                  </a:lnTo>
                  <a:lnTo>
                    <a:pt x="433" y="1017"/>
                  </a:lnTo>
                  <a:lnTo>
                    <a:pt x="378" y="955"/>
                  </a:lnTo>
                  <a:lnTo>
                    <a:pt x="326" y="890"/>
                  </a:lnTo>
                  <a:lnTo>
                    <a:pt x="278" y="824"/>
                  </a:lnTo>
                  <a:lnTo>
                    <a:pt x="234" y="756"/>
                  </a:lnTo>
                  <a:lnTo>
                    <a:pt x="192" y="686"/>
                  </a:lnTo>
                  <a:lnTo>
                    <a:pt x="155" y="615"/>
                  </a:lnTo>
                  <a:lnTo>
                    <a:pt x="122" y="543"/>
                  </a:lnTo>
                  <a:lnTo>
                    <a:pt x="92" y="471"/>
                  </a:lnTo>
                  <a:lnTo>
                    <a:pt x="67" y="396"/>
                  </a:lnTo>
                  <a:lnTo>
                    <a:pt x="45" y="323"/>
                  </a:lnTo>
                  <a:lnTo>
                    <a:pt x="28" y="249"/>
                  </a:lnTo>
                  <a:lnTo>
                    <a:pt x="13" y="174"/>
                  </a:lnTo>
                  <a:lnTo>
                    <a:pt x="4" y="101"/>
                  </a:lnTo>
                  <a:lnTo>
                    <a:pt x="0" y="28"/>
                  </a:lnTo>
                  <a:lnTo>
                    <a:pt x="162" y="13"/>
                  </a:lnTo>
                  <a:lnTo>
                    <a:pt x="320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26" name="Freeform 241"/>
            <p:cNvSpPr>
              <a:spLocks/>
            </p:cNvSpPr>
            <p:nvPr/>
          </p:nvSpPr>
          <p:spPr bwMode="auto">
            <a:xfrm>
              <a:off x="2336" y="3950"/>
              <a:ext cx="58" cy="65"/>
            </a:xfrm>
            <a:custGeom>
              <a:avLst/>
              <a:gdLst>
                <a:gd name="T0" fmla="*/ 193 w 808"/>
                <a:gd name="T1" fmla="*/ 0 h 914"/>
                <a:gd name="T2" fmla="*/ 270 w 808"/>
                <a:gd name="T3" fmla="*/ 58 h 914"/>
                <a:gd name="T4" fmla="*/ 341 w 808"/>
                <a:gd name="T5" fmla="*/ 118 h 914"/>
                <a:gd name="T6" fmla="*/ 410 w 808"/>
                <a:gd name="T7" fmla="*/ 182 h 914"/>
                <a:gd name="T8" fmla="*/ 474 w 808"/>
                <a:gd name="T9" fmla="*/ 248 h 914"/>
                <a:gd name="T10" fmla="*/ 533 w 808"/>
                <a:gd name="T11" fmla="*/ 317 h 914"/>
                <a:gd name="T12" fmla="*/ 589 w 808"/>
                <a:gd name="T13" fmla="*/ 389 h 914"/>
                <a:gd name="T14" fmla="*/ 641 w 808"/>
                <a:gd name="T15" fmla="*/ 466 h 914"/>
                <a:gd name="T16" fmla="*/ 688 w 808"/>
                <a:gd name="T17" fmla="*/ 544 h 914"/>
                <a:gd name="T18" fmla="*/ 732 w 808"/>
                <a:gd name="T19" fmla="*/ 626 h 914"/>
                <a:gd name="T20" fmla="*/ 772 w 808"/>
                <a:gd name="T21" fmla="*/ 711 h 914"/>
                <a:gd name="T22" fmla="*/ 808 w 808"/>
                <a:gd name="T23" fmla="*/ 800 h 914"/>
                <a:gd name="T24" fmla="*/ 702 w 808"/>
                <a:gd name="T25" fmla="*/ 838 h 914"/>
                <a:gd name="T26" fmla="*/ 597 w 808"/>
                <a:gd name="T27" fmla="*/ 876 h 914"/>
                <a:gd name="T28" fmla="*/ 492 w 808"/>
                <a:gd name="T29" fmla="*/ 914 h 914"/>
                <a:gd name="T30" fmla="*/ 461 w 808"/>
                <a:gd name="T31" fmla="*/ 836 h 914"/>
                <a:gd name="T32" fmla="*/ 425 w 808"/>
                <a:gd name="T33" fmla="*/ 762 h 914"/>
                <a:gd name="T34" fmla="*/ 386 w 808"/>
                <a:gd name="T35" fmla="*/ 691 h 914"/>
                <a:gd name="T36" fmla="*/ 342 w 808"/>
                <a:gd name="T37" fmla="*/ 622 h 914"/>
                <a:gd name="T38" fmla="*/ 294 w 808"/>
                <a:gd name="T39" fmla="*/ 555 h 914"/>
                <a:gd name="T40" fmla="*/ 242 w 808"/>
                <a:gd name="T41" fmla="*/ 492 h 914"/>
                <a:gd name="T42" fmla="*/ 187 w 808"/>
                <a:gd name="T43" fmla="*/ 433 h 914"/>
                <a:gd name="T44" fmla="*/ 128 w 808"/>
                <a:gd name="T45" fmla="*/ 376 h 914"/>
                <a:gd name="T46" fmla="*/ 66 w 808"/>
                <a:gd name="T47" fmla="*/ 323 h 914"/>
                <a:gd name="T48" fmla="*/ 0 w 808"/>
                <a:gd name="T49" fmla="*/ 273 h 914"/>
                <a:gd name="T50" fmla="*/ 66 w 808"/>
                <a:gd name="T51" fmla="*/ 181 h 914"/>
                <a:gd name="T52" fmla="*/ 129 w 808"/>
                <a:gd name="T53" fmla="*/ 90 h 914"/>
                <a:gd name="T54" fmla="*/ 193 w 808"/>
                <a:gd name="T55" fmla="*/ 0 h 914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</a:cxnLst>
              <a:rect l="0" t="0" r="r" b="b"/>
              <a:pathLst>
                <a:path w="808" h="914">
                  <a:moveTo>
                    <a:pt x="193" y="0"/>
                  </a:moveTo>
                  <a:lnTo>
                    <a:pt x="270" y="58"/>
                  </a:lnTo>
                  <a:lnTo>
                    <a:pt x="341" y="118"/>
                  </a:lnTo>
                  <a:lnTo>
                    <a:pt x="410" y="182"/>
                  </a:lnTo>
                  <a:lnTo>
                    <a:pt x="474" y="248"/>
                  </a:lnTo>
                  <a:lnTo>
                    <a:pt x="533" y="317"/>
                  </a:lnTo>
                  <a:lnTo>
                    <a:pt x="589" y="389"/>
                  </a:lnTo>
                  <a:lnTo>
                    <a:pt x="641" y="466"/>
                  </a:lnTo>
                  <a:lnTo>
                    <a:pt x="688" y="544"/>
                  </a:lnTo>
                  <a:lnTo>
                    <a:pt x="732" y="626"/>
                  </a:lnTo>
                  <a:lnTo>
                    <a:pt x="772" y="711"/>
                  </a:lnTo>
                  <a:lnTo>
                    <a:pt x="808" y="800"/>
                  </a:lnTo>
                  <a:lnTo>
                    <a:pt x="702" y="838"/>
                  </a:lnTo>
                  <a:lnTo>
                    <a:pt x="597" y="876"/>
                  </a:lnTo>
                  <a:lnTo>
                    <a:pt x="492" y="914"/>
                  </a:lnTo>
                  <a:lnTo>
                    <a:pt x="461" y="836"/>
                  </a:lnTo>
                  <a:lnTo>
                    <a:pt x="425" y="762"/>
                  </a:lnTo>
                  <a:lnTo>
                    <a:pt x="386" y="691"/>
                  </a:lnTo>
                  <a:lnTo>
                    <a:pt x="342" y="622"/>
                  </a:lnTo>
                  <a:lnTo>
                    <a:pt x="294" y="555"/>
                  </a:lnTo>
                  <a:lnTo>
                    <a:pt x="242" y="492"/>
                  </a:lnTo>
                  <a:lnTo>
                    <a:pt x="187" y="433"/>
                  </a:lnTo>
                  <a:lnTo>
                    <a:pt x="128" y="376"/>
                  </a:lnTo>
                  <a:lnTo>
                    <a:pt x="66" y="323"/>
                  </a:lnTo>
                  <a:lnTo>
                    <a:pt x="0" y="273"/>
                  </a:lnTo>
                  <a:lnTo>
                    <a:pt x="66" y="181"/>
                  </a:lnTo>
                  <a:lnTo>
                    <a:pt x="129" y="90"/>
                  </a:lnTo>
                  <a:lnTo>
                    <a:pt x="193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  <p:sp>
          <p:nvSpPr>
            <p:cNvPr id="30" name="Freeform 242"/>
            <p:cNvSpPr>
              <a:spLocks noEditPoints="1"/>
            </p:cNvSpPr>
            <p:nvPr/>
          </p:nvSpPr>
          <p:spPr bwMode="auto">
            <a:xfrm>
              <a:off x="2206" y="3973"/>
              <a:ext cx="150" cy="150"/>
            </a:xfrm>
            <a:custGeom>
              <a:avLst/>
              <a:gdLst>
                <a:gd name="T0" fmla="*/ 936 w 2105"/>
                <a:gd name="T1" fmla="*/ 608 h 2100"/>
                <a:gd name="T2" fmla="*/ 766 w 2105"/>
                <a:gd name="T3" fmla="*/ 694 h 2100"/>
                <a:gd name="T4" fmla="*/ 642 w 2105"/>
                <a:gd name="T5" fmla="*/ 846 h 2100"/>
                <a:gd name="T6" fmla="*/ 595 w 2105"/>
                <a:gd name="T7" fmla="*/ 1027 h 2100"/>
                <a:gd name="T8" fmla="*/ 624 w 2105"/>
                <a:gd name="T9" fmla="*/ 1211 h 2100"/>
                <a:gd name="T10" fmla="*/ 729 w 2105"/>
                <a:gd name="T11" fmla="*/ 1374 h 2100"/>
                <a:gd name="T12" fmla="*/ 892 w 2105"/>
                <a:gd name="T13" fmla="*/ 1478 h 2100"/>
                <a:gd name="T14" fmla="*/ 1077 w 2105"/>
                <a:gd name="T15" fmla="*/ 1506 h 2100"/>
                <a:gd name="T16" fmla="*/ 1258 w 2105"/>
                <a:gd name="T17" fmla="*/ 1458 h 2100"/>
                <a:gd name="T18" fmla="*/ 1410 w 2105"/>
                <a:gd name="T19" fmla="*/ 1335 h 2100"/>
                <a:gd name="T20" fmla="*/ 1496 w 2105"/>
                <a:gd name="T21" fmla="*/ 1165 h 2100"/>
                <a:gd name="T22" fmla="*/ 1505 w 2105"/>
                <a:gd name="T23" fmla="*/ 980 h 2100"/>
                <a:gd name="T24" fmla="*/ 1437 w 2105"/>
                <a:gd name="T25" fmla="*/ 804 h 2100"/>
                <a:gd name="T26" fmla="*/ 1299 w 2105"/>
                <a:gd name="T27" fmla="*/ 665 h 2100"/>
                <a:gd name="T28" fmla="*/ 1122 w 2105"/>
                <a:gd name="T29" fmla="*/ 599 h 2100"/>
                <a:gd name="T30" fmla="*/ 1143 w 2105"/>
                <a:gd name="T31" fmla="*/ 3 h 2100"/>
                <a:gd name="T32" fmla="*/ 1206 w 2105"/>
                <a:gd name="T33" fmla="*/ 64 h 2100"/>
                <a:gd name="T34" fmla="*/ 1340 w 2105"/>
                <a:gd name="T35" fmla="*/ 260 h 2100"/>
                <a:gd name="T36" fmla="*/ 1621 w 2105"/>
                <a:gd name="T37" fmla="*/ 258 h 2100"/>
                <a:gd name="T38" fmla="*/ 1694 w 2105"/>
                <a:gd name="T39" fmla="*/ 233 h 2100"/>
                <a:gd name="T40" fmla="*/ 1846 w 2105"/>
                <a:gd name="T41" fmla="*/ 356 h 2100"/>
                <a:gd name="T42" fmla="*/ 1870 w 2105"/>
                <a:gd name="T43" fmla="*/ 428 h 2100"/>
                <a:gd name="T44" fmla="*/ 1749 w 2105"/>
                <a:gd name="T45" fmla="*/ 578 h 2100"/>
                <a:gd name="T46" fmla="*/ 1865 w 2105"/>
                <a:gd name="T47" fmla="*/ 826 h 2100"/>
                <a:gd name="T48" fmla="*/ 2060 w 2105"/>
                <a:gd name="T49" fmla="*/ 904 h 2100"/>
                <a:gd name="T50" fmla="*/ 2105 w 2105"/>
                <a:gd name="T51" fmla="*/ 981 h 2100"/>
                <a:gd name="T52" fmla="*/ 2079 w 2105"/>
                <a:gd name="T53" fmla="*/ 1180 h 2100"/>
                <a:gd name="T54" fmla="*/ 1881 w 2105"/>
                <a:gd name="T55" fmla="*/ 1206 h 2100"/>
                <a:gd name="T56" fmla="*/ 1789 w 2105"/>
                <a:gd name="T57" fmla="*/ 1463 h 2100"/>
                <a:gd name="T58" fmla="*/ 1867 w 2105"/>
                <a:gd name="T59" fmla="*/ 1652 h 2100"/>
                <a:gd name="T60" fmla="*/ 1859 w 2105"/>
                <a:gd name="T61" fmla="*/ 1727 h 2100"/>
                <a:gd name="T62" fmla="*/ 1715 w 2105"/>
                <a:gd name="T63" fmla="*/ 1860 h 2100"/>
                <a:gd name="T64" fmla="*/ 1640 w 2105"/>
                <a:gd name="T65" fmla="*/ 1852 h 2100"/>
                <a:gd name="T66" fmla="*/ 1408 w 2105"/>
                <a:gd name="T67" fmla="*/ 1816 h 2100"/>
                <a:gd name="T68" fmla="*/ 1212 w 2105"/>
                <a:gd name="T69" fmla="*/ 2010 h 2100"/>
                <a:gd name="T70" fmla="*/ 1167 w 2105"/>
                <a:gd name="T71" fmla="*/ 2086 h 2100"/>
                <a:gd name="T72" fmla="*/ 961 w 2105"/>
                <a:gd name="T73" fmla="*/ 2097 h 2100"/>
                <a:gd name="T74" fmla="*/ 899 w 2105"/>
                <a:gd name="T75" fmla="*/ 2035 h 2100"/>
                <a:gd name="T76" fmla="*/ 762 w 2105"/>
                <a:gd name="T77" fmla="*/ 1844 h 2100"/>
                <a:gd name="T78" fmla="*/ 484 w 2105"/>
                <a:gd name="T79" fmla="*/ 1841 h 2100"/>
                <a:gd name="T80" fmla="*/ 410 w 2105"/>
                <a:gd name="T81" fmla="*/ 1867 h 2100"/>
                <a:gd name="T82" fmla="*/ 260 w 2105"/>
                <a:gd name="T83" fmla="*/ 1744 h 2100"/>
                <a:gd name="T84" fmla="*/ 236 w 2105"/>
                <a:gd name="T85" fmla="*/ 1672 h 2100"/>
                <a:gd name="T86" fmla="*/ 351 w 2105"/>
                <a:gd name="T87" fmla="*/ 1526 h 2100"/>
                <a:gd name="T88" fmla="*/ 248 w 2105"/>
                <a:gd name="T89" fmla="*/ 1319 h 2100"/>
                <a:gd name="T90" fmla="*/ 65 w 2105"/>
                <a:gd name="T91" fmla="*/ 1204 h 2100"/>
                <a:gd name="T92" fmla="*/ 3 w 2105"/>
                <a:gd name="T93" fmla="*/ 1143 h 2100"/>
                <a:gd name="T94" fmla="*/ 12 w 2105"/>
                <a:gd name="T95" fmla="*/ 937 h 2100"/>
                <a:gd name="T96" fmla="*/ 89 w 2105"/>
                <a:gd name="T97" fmla="*/ 893 h 2100"/>
                <a:gd name="T98" fmla="*/ 269 w 2105"/>
                <a:gd name="T99" fmla="*/ 729 h 2100"/>
                <a:gd name="T100" fmla="*/ 259 w 2105"/>
                <a:gd name="T101" fmla="*/ 483 h 2100"/>
                <a:gd name="T102" fmla="*/ 234 w 2105"/>
                <a:gd name="T103" fmla="*/ 411 h 2100"/>
                <a:gd name="T104" fmla="*/ 356 w 2105"/>
                <a:gd name="T105" fmla="*/ 260 h 2100"/>
                <a:gd name="T106" fmla="*/ 429 w 2105"/>
                <a:gd name="T107" fmla="*/ 234 h 2100"/>
                <a:gd name="T108" fmla="*/ 576 w 2105"/>
                <a:gd name="T109" fmla="*/ 352 h 2100"/>
                <a:gd name="T110" fmla="*/ 828 w 2105"/>
                <a:gd name="T111" fmla="*/ 237 h 2100"/>
                <a:gd name="T112" fmla="*/ 905 w 2105"/>
                <a:gd name="T113" fmla="*/ 44 h 2100"/>
                <a:gd name="T114" fmla="*/ 982 w 2105"/>
                <a:gd name="T115" fmla="*/ 0 h 2100"/>
              </a:gdLst>
              <a:ahLst/>
              <a:cxnLst>
                <a:cxn ang="0">
                  <a:pos x="T0" y="T1"/>
                </a:cxn>
                <a:cxn ang="0">
                  <a:pos x="T2" y="T3"/>
                </a:cxn>
                <a:cxn ang="0">
                  <a:pos x="T4" y="T5"/>
                </a:cxn>
                <a:cxn ang="0">
                  <a:pos x="T6" y="T7"/>
                </a:cxn>
                <a:cxn ang="0">
                  <a:pos x="T8" y="T9"/>
                </a:cxn>
                <a:cxn ang="0">
                  <a:pos x="T10" y="T11"/>
                </a:cxn>
                <a:cxn ang="0">
                  <a:pos x="T12" y="T13"/>
                </a:cxn>
                <a:cxn ang="0">
                  <a:pos x="T14" y="T15"/>
                </a:cxn>
                <a:cxn ang="0">
                  <a:pos x="T16" y="T17"/>
                </a:cxn>
                <a:cxn ang="0">
                  <a:pos x="T18" y="T19"/>
                </a:cxn>
                <a:cxn ang="0">
                  <a:pos x="T20" y="T21"/>
                </a:cxn>
                <a:cxn ang="0">
                  <a:pos x="T22" y="T23"/>
                </a:cxn>
                <a:cxn ang="0">
                  <a:pos x="T24" y="T25"/>
                </a:cxn>
                <a:cxn ang="0">
                  <a:pos x="T26" y="T27"/>
                </a:cxn>
                <a:cxn ang="0">
                  <a:pos x="T28" y="T29"/>
                </a:cxn>
                <a:cxn ang="0">
                  <a:pos x="T30" y="T31"/>
                </a:cxn>
                <a:cxn ang="0">
                  <a:pos x="T32" y="T33"/>
                </a:cxn>
                <a:cxn ang="0">
                  <a:pos x="T34" y="T35"/>
                </a:cxn>
                <a:cxn ang="0">
                  <a:pos x="T36" y="T37"/>
                </a:cxn>
                <a:cxn ang="0">
                  <a:pos x="T38" y="T39"/>
                </a:cxn>
                <a:cxn ang="0">
                  <a:pos x="T40" y="T41"/>
                </a:cxn>
                <a:cxn ang="0">
                  <a:pos x="T42" y="T43"/>
                </a:cxn>
                <a:cxn ang="0">
                  <a:pos x="T44" y="T45"/>
                </a:cxn>
                <a:cxn ang="0">
                  <a:pos x="T46" y="T47"/>
                </a:cxn>
                <a:cxn ang="0">
                  <a:pos x="T48" y="T49"/>
                </a:cxn>
                <a:cxn ang="0">
                  <a:pos x="T50" y="T51"/>
                </a:cxn>
                <a:cxn ang="0">
                  <a:pos x="T52" y="T53"/>
                </a:cxn>
                <a:cxn ang="0">
                  <a:pos x="T54" y="T55"/>
                </a:cxn>
                <a:cxn ang="0">
                  <a:pos x="T56" y="T57"/>
                </a:cxn>
                <a:cxn ang="0">
                  <a:pos x="T58" y="T59"/>
                </a:cxn>
                <a:cxn ang="0">
                  <a:pos x="T60" y="T61"/>
                </a:cxn>
                <a:cxn ang="0">
                  <a:pos x="T62" y="T63"/>
                </a:cxn>
                <a:cxn ang="0">
                  <a:pos x="T64" y="T65"/>
                </a:cxn>
                <a:cxn ang="0">
                  <a:pos x="T66" y="T67"/>
                </a:cxn>
                <a:cxn ang="0">
                  <a:pos x="T68" y="T69"/>
                </a:cxn>
                <a:cxn ang="0">
                  <a:pos x="T70" y="T71"/>
                </a:cxn>
                <a:cxn ang="0">
                  <a:pos x="T72" y="T73"/>
                </a:cxn>
                <a:cxn ang="0">
                  <a:pos x="T74" y="T75"/>
                </a:cxn>
                <a:cxn ang="0">
                  <a:pos x="T76" y="T77"/>
                </a:cxn>
                <a:cxn ang="0">
                  <a:pos x="T78" y="T79"/>
                </a:cxn>
                <a:cxn ang="0">
                  <a:pos x="T80" y="T81"/>
                </a:cxn>
                <a:cxn ang="0">
                  <a:pos x="T82" y="T83"/>
                </a:cxn>
                <a:cxn ang="0">
                  <a:pos x="T84" y="T85"/>
                </a:cxn>
                <a:cxn ang="0">
                  <a:pos x="T86" y="T87"/>
                </a:cxn>
                <a:cxn ang="0">
                  <a:pos x="T88" y="T89"/>
                </a:cxn>
                <a:cxn ang="0">
                  <a:pos x="T90" y="T91"/>
                </a:cxn>
                <a:cxn ang="0">
                  <a:pos x="T92" y="T93"/>
                </a:cxn>
                <a:cxn ang="0">
                  <a:pos x="T94" y="T95"/>
                </a:cxn>
                <a:cxn ang="0">
                  <a:pos x="T96" y="T97"/>
                </a:cxn>
                <a:cxn ang="0">
                  <a:pos x="T98" y="T99"/>
                </a:cxn>
                <a:cxn ang="0">
                  <a:pos x="T100" y="T101"/>
                </a:cxn>
                <a:cxn ang="0">
                  <a:pos x="T102" y="T103"/>
                </a:cxn>
                <a:cxn ang="0">
                  <a:pos x="T104" y="T105"/>
                </a:cxn>
                <a:cxn ang="0">
                  <a:pos x="T106" y="T107"/>
                </a:cxn>
                <a:cxn ang="0">
                  <a:pos x="T108" y="T109"/>
                </a:cxn>
                <a:cxn ang="0">
                  <a:pos x="T110" y="T111"/>
                </a:cxn>
                <a:cxn ang="0">
                  <a:pos x="T112" y="T113"/>
                </a:cxn>
                <a:cxn ang="0">
                  <a:pos x="T114" y="T115"/>
                </a:cxn>
              </a:cxnLst>
              <a:rect l="0" t="0" r="r" b="b"/>
              <a:pathLst>
                <a:path w="2105" h="2100">
                  <a:moveTo>
                    <a:pt x="1075" y="594"/>
                  </a:moveTo>
                  <a:lnTo>
                    <a:pt x="1029" y="594"/>
                  </a:lnTo>
                  <a:lnTo>
                    <a:pt x="982" y="599"/>
                  </a:lnTo>
                  <a:lnTo>
                    <a:pt x="936" y="608"/>
                  </a:lnTo>
                  <a:lnTo>
                    <a:pt x="890" y="622"/>
                  </a:lnTo>
                  <a:lnTo>
                    <a:pt x="847" y="642"/>
                  </a:lnTo>
                  <a:lnTo>
                    <a:pt x="805" y="665"/>
                  </a:lnTo>
                  <a:lnTo>
                    <a:pt x="766" y="694"/>
                  </a:lnTo>
                  <a:lnTo>
                    <a:pt x="728" y="727"/>
                  </a:lnTo>
                  <a:lnTo>
                    <a:pt x="695" y="765"/>
                  </a:lnTo>
                  <a:lnTo>
                    <a:pt x="667" y="804"/>
                  </a:lnTo>
                  <a:lnTo>
                    <a:pt x="642" y="846"/>
                  </a:lnTo>
                  <a:lnTo>
                    <a:pt x="624" y="889"/>
                  </a:lnTo>
                  <a:lnTo>
                    <a:pt x="609" y="934"/>
                  </a:lnTo>
                  <a:lnTo>
                    <a:pt x="599" y="981"/>
                  </a:lnTo>
                  <a:lnTo>
                    <a:pt x="595" y="1027"/>
                  </a:lnTo>
                  <a:lnTo>
                    <a:pt x="595" y="1073"/>
                  </a:lnTo>
                  <a:lnTo>
                    <a:pt x="600" y="1120"/>
                  </a:lnTo>
                  <a:lnTo>
                    <a:pt x="609" y="1166"/>
                  </a:lnTo>
                  <a:lnTo>
                    <a:pt x="624" y="1211"/>
                  </a:lnTo>
                  <a:lnTo>
                    <a:pt x="643" y="1255"/>
                  </a:lnTo>
                  <a:lnTo>
                    <a:pt x="667" y="1296"/>
                  </a:lnTo>
                  <a:lnTo>
                    <a:pt x="695" y="1336"/>
                  </a:lnTo>
                  <a:lnTo>
                    <a:pt x="729" y="1374"/>
                  </a:lnTo>
                  <a:lnTo>
                    <a:pt x="766" y="1406"/>
                  </a:lnTo>
                  <a:lnTo>
                    <a:pt x="806" y="1435"/>
                  </a:lnTo>
                  <a:lnTo>
                    <a:pt x="848" y="1458"/>
                  </a:lnTo>
                  <a:lnTo>
                    <a:pt x="892" y="1478"/>
                  </a:lnTo>
                  <a:lnTo>
                    <a:pt x="937" y="1492"/>
                  </a:lnTo>
                  <a:lnTo>
                    <a:pt x="983" y="1501"/>
                  </a:lnTo>
                  <a:lnTo>
                    <a:pt x="1030" y="1506"/>
                  </a:lnTo>
                  <a:lnTo>
                    <a:pt x="1077" y="1506"/>
                  </a:lnTo>
                  <a:lnTo>
                    <a:pt x="1123" y="1501"/>
                  </a:lnTo>
                  <a:lnTo>
                    <a:pt x="1169" y="1492"/>
                  </a:lnTo>
                  <a:lnTo>
                    <a:pt x="1215" y="1478"/>
                  </a:lnTo>
                  <a:lnTo>
                    <a:pt x="1258" y="1458"/>
                  </a:lnTo>
                  <a:lnTo>
                    <a:pt x="1300" y="1435"/>
                  </a:lnTo>
                  <a:lnTo>
                    <a:pt x="1339" y="1406"/>
                  </a:lnTo>
                  <a:lnTo>
                    <a:pt x="1376" y="1373"/>
                  </a:lnTo>
                  <a:lnTo>
                    <a:pt x="1410" y="1335"/>
                  </a:lnTo>
                  <a:lnTo>
                    <a:pt x="1438" y="1296"/>
                  </a:lnTo>
                  <a:lnTo>
                    <a:pt x="1462" y="1254"/>
                  </a:lnTo>
                  <a:lnTo>
                    <a:pt x="1481" y="1211"/>
                  </a:lnTo>
                  <a:lnTo>
                    <a:pt x="1496" y="1165"/>
                  </a:lnTo>
                  <a:lnTo>
                    <a:pt x="1505" y="1119"/>
                  </a:lnTo>
                  <a:lnTo>
                    <a:pt x="1510" y="1073"/>
                  </a:lnTo>
                  <a:lnTo>
                    <a:pt x="1510" y="1027"/>
                  </a:lnTo>
                  <a:lnTo>
                    <a:pt x="1505" y="980"/>
                  </a:lnTo>
                  <a:lnTo>
                    <a:pt x="1496" y="934"/>
                  </a:lnTo>
                  <a:lnTo>
                    <a:pt x="1481" y="889"/>
                  </a:lnTo>
                  <a:lnTo>
                    <a:pt x="1462" y="845"/>
                  </a:lnTo>
                  <a:lnTo>
                    <a:pt x="1437" y="804"/>
                  </a:lnTo>
                  <a:lnTo>
                    <a:pt x="1409" y="764"/>
                  </a:lnTo>
                  <a:lnTo>
                    <a:pt x="1376" y="726"/>
                  </a:lnTo>
                  <a:lnTo>
                    <a:pt x="1338" y="694"/>
                  </a:lnTo>
                  <a:lnTo>
                    <a:pt x="1299" y="665"/>
                  </a:lnTo>
                  <a:lnTo>
                    <a:pt x="1257" y="641"/>
                  </a:lnTo>
                  <a:lnTo>
                    <a:pt x="1213" y="622"/>
                  </a:lnTo>
                  <a:lnTo>
                    <a:pt x="1168" y="608"/>
                  </a:lnTo>
                  <a:lnTo>
                    <a:pt x="1122" y="599"/>
                  </a:lnTo>
                  <a:lnTo>
                    <a:pt x="1075" y="594"/>
                  </a:lnTo>
                  <a:close/>
                  <a:moveTo>
                    <a:pt x="982" y="0"/>
                  </a:moveTo>
                  <a:lnTo>
                    <a:pt x="1120" y="0"/>
                  </a:lnTo>
                  <a:lnTo>
                    <a:pt x="1143" y="3"/>
                  </a:lnTo>
                  <a:lnTo>
                    <a:pt x="1165" y="11"/>
                  </a:lnTo>
                  <a:lnTo>
                    <a:pt x="1183" y="26"/>
                  </a:lnTo>
                  <a:lnTo>
                    <a:pt x="1196" y="44"/>
                  </a:lnTo>
                  <a:lnTo>
                    <a:pt x="1206" y="64"/>
                  </a:lnTo>
                  <a:lnTo>
                    <a:pt x="1209" y="88"/>
                  </a:lnTo>
                  <a:lnTo>
                    <a:pt x="1209" y="223"/>
                  </a:lnTo>
                  <a:lnTo>
                    <a:pt x="1275" y="238"/>
                  </a:lnTo>
                  <a:lnTo>
                    <a:pt x="1340" y="260"/>
                  </a:lnTo>
                  <a:lnTo>
                    <a:pt x="1404" y="286"/>
                  </a:lnTo>
                  <a:lnTo>
                    <a:pt x="1466" y="318"/>
                  </a:lnTo>
                  <a:lnTo>
                    <a:pt x="1525" y="355"/>
                  </a:lnTo>
                  <a:lnTo>
                    <a:pt x="1621" y="258"/>
                  </a:lnTo>
                  <a:lnTo>
                    <a:pt x="1637" y="246"/>
                  </a:lnTo>
                  <a:lnTo>
                    <a:pt x="1656" y="237"/>
                  </a:lnTo>
                  <a:lnTo>
                    <a:pt x="1674" y="233"/>
                  </a:lnTo>
                  <a:lnTo>
                    <a:pt x="1694" y="233"/>
                  </a:lnTo>
                  <a:lnTo>
                    <a:pt x="1713" y="237"/>
                  </a:lnTo>
                  <a:lnTo>
                    <a:pt x="1731" y="246"/>
                  </a:lnTo>
                  <a:lnTo>
                    <a:pt x="1747" y="258"/>
                  </a:lnTo>
                  <a:lnTo>
                    <a:pt x="1846" y="356"/>
                  </a:lnTo>
                  <a:lnTo>
                    <a:pt x="1858" y="372"/>
                  </a:lnTo>
                  <a:lnTo>
                    <a:pt x="1866" y="390"/>
                  </a:lnTo>
                  <a:lnTo>
                    <a:pt x="1870" y="408"/>
                  </a:lnTo>
                  <a:lnTo>
                    <a:pt x="1870" y="428"/>
                  </a:lnTo>
                  <a:lnTo>
                    <a:pt x="1866" y="447"/>
                  </a:lnTo>
                  <a:lnTo>
                    <a:pt x="1858" y="466"/>
                  </a:lnTo>
                  <a:lnTo>
                    <a:pt x="1846" y="481"/>
                  </a:lnTo>
                  <a:lnTo>
                    <a:pt x="1749" y="578"/>
                  </a:lnTo>
                  <a:lnTo>
                    <a:pt x="1787" y="637"/>
                  </a:lnTo>
                  <a:lnTo>
                    <a:pt x="1818" y="698"/>
                  </a:lnTo>
                  <a:lnTo>
                    <a:pt x="1844" y="761"/>
                  </a:lnTo>
                  <a:lnTo>
                    <a:pt x="1865" y="826"/>
                  </a:lnTo>
                  <a:lnTo>
                    <a:pt x="1880" y="892"/>
                  </a:lnTo>
                  <a:lnTo>
                    <a:pt x="2016" y="892"/>
                  </a:lnTo>
                  <a:lnTo>
                    <a:pt x="2040" y="895"/>
                  </a:lnTo>
                  <a:lnTo>
                    <a:pt x="2060" y="904"/>
                  </a:lnTo>
                  <a:lnTo>
                    <a:pt x="2079" y="918"/>
                  </a:lnTo>
                  <a:lnTo>
                    <a:pt x="2093" y="936"/>
                  </a:lnTo>
                  <a:lnTo>
                    <a:pt x="2101" y="957"/>
                  </a:lnTo>
                  <a:lnTo>
                    <a:pt x="2105" y="981"/>
                  </a:lnTo>
                  <a:lnTo>
                    <a:pt x="2105" y="1117"/>
                  </a:lnTo>
                  <a:lnTo>
                    <a:pt x="2101" y="1141"/>
                  </a:lnTo>
                  <a:lnTo>
                    <a:pt x="2093" y="1162"/>
                  </a:lnTo>
                  <a:lnTo>
                    <a:pt x="2079" y="1180"/>
                  </a:lnTo>
                  <a:lnTo>
                    <a:pt x="2060" y="1194"/>
                  </a:lnTo>
                  <a:lnTo>
                    <a:pt x="2040" y="1203"/>
                  </a:lnTo>
                  <a:lnTo>
                    <a:pt x="2016" y="1206"/>
                  </a:lnTo>
                  <a:lnTo>
                    <a:pt x="1881" y="1206"/>
                  </a:lnTo>
                  <a:lnTo>
                    <a:pt x="1866" y="1272"/>
                  </a:lnTo>
                  <a:lnTo>
                    <a:pt x="1846" y="1337"/>
                  </a:lnTo>
                  <a:lnTo>
                    <a:pt x="1819" y="1401"/>
                  </a:lnTo>
                  <a:lnTo>
                    <a:pt x="1789" y="1463"/>
                  </a:lnTo>
                  <a:lnTo>
                    <a:pt x="1751" y="1522"/>
                  </a:lnTo>
                  <a:lnTo>
                    <a:pt x="1846" y="1617"/>
                  </a:lnTo>
                  <a:lnTo>
                    <a:pt x="1859" y="1633"/>
                  </a:lnTo>
                  <a:lnTo>
                    <a:pt x="1867" y="1652"/>
                  </a:lnTo>
                  <a:lnTo>
                    <a:pt x="1871" y="1670"/>
                  </a:lnTo>
                  <a:lnTo>
                    <a:pt x="1871" y="1689"/>
                  </a:lnTo>
                  <a:lnTo>
                    <a:pt x="1867" y="1709"/>
                  </a:lnTo>
                  <a:lnTo>
                    <a:pt x="1859" y="1727"/>
                  </a:lnTo>
                  <a:lnTo>
                    <a:pt x="1846" y="1743"/>
                  </a:lnTo>
                  <a:lnTo>
                    <a:pt x="1749" y="1839"/>
                  </a:lnTo>
                  <a:lnTo>
                    <a:pt x="1733" y="1852"/>
                  </a:lnTo>
                  <a:lnTo>
                    <a:pt x="1715" y="1860"/>
                  </a:lnTo>
                  <a:lnTo>
                    <a:pt x="1696" y="1864"/>
                  </a:lnTo>
                  <a:lnTo>
                    <a:pt x="1676" y="1864"/>
                  </a:lnTo>
                  <a:lnTo>
                    <a:pt x="1658" y="1860"/>
                  </a:lnTo>
                  <a:lnTo>
                    <a:pt x="1640" y="1852"/>
                  </a:lnTo>
                  <a:lnTo>
                    <a:pt x="1623" y="1839"/>
                  </a:lnTo>
                  <a:lnTo>
                    <a:pt x="1530" y="1746"/>
                  </a:lnTo>
                  <a:lnTo>
                    <a:pt x="1470" y="1784"/>
                  </a:lnTo>
                  <a:lnTo>
                    <a:pt x="1408" y="1816"/>
                  </a:lnTo>
                  <a:lnTo>
                    <a:pt x="1343" y="1843"/>
                  </a:lnTo>
                  <a:lnTo>
                    <a:pt x="1278" y="1863"/>
                  </a:lnTo>
                  <a:lnTo>
                    <a:pt x="1212" y="1880"/>
                  </a:lnTo>
                  <a:lnTo>
                    <a:pt x="1212" y="2010"/>
                  </a:lnTo>
                  <a:lnTo>
                    <a:pt x="1209" y="2034"/>
                  </a:lnTo>
                  <a:lnTo>
                    <a:pt x="1199" y="2055"/>
                  </a:lnTo>
                  <a:lnTo>
                    <a:pt x="1185" y="2073"/>
                  </a:lnTo>
                  <a:lnTo>
                    <a:pt x="1167" y="2086"/>
                  </a:lnTo>
                  <a:lnTo>
                    <a:pt x="1145" y="2096"/>
                  </a:lnTo>
                  <a:lnTo>
                    <a:pt x="1122" y="2100"/>
                  </a:lnTo>
                  <a:lnTo>
                    <a:pt x="984" y="2100"/>
                  </a:lnTo>
                  <a:lnTo>
                    <a:pt x="961" y="2097"/>
                  </a:lnTo>
                  <a:lnTo>
                    <a:pt x="940" y="2087"/>
                  </a:lnTo>
                  <a:lnTo>
                    <a:pt x="922" y="2073"/>
                  </a:lnTo>
                  <a:lnTo>
                    <a:pt x="907" y="2056"/>
                  </a:lnTo>
                  <a:lnTo>
                    <a:pt x="899" y="2035"/>
                  </a:lnTo>
                  <a:lnTo>
                    <a:pt x="896" y="2011"/>
                  </a:lnTo>
                  <a:lnTo>
                    <a:pt x="896" y="1881"/>
                  </a:lnTo>
                  <a:lnTo>
                    <a:pt x="829" y="1866"/>
                  </a:lnTo>
                  <a:lnTo>
                    <a:pt x="762" y="1844"/>
                  </a:lnTo>
                  <a:lnTo>
                    <a:pt x="698" y="1818"/>
                  </a:lnTo>
                  <a:lnTo>
                    <a:pt x="636" y="1786"/>
                  </a:lnTo>
                  <a:lnTo>
                    <a:pt x="576" y="1749"/>
                  </a:lnTo>
                  <a:lnTo>
                    <a:pt x="484" y="1841"/>
                  </a:lnTo>
                  <a:lnTo>
                    <a:pt x="467" y="1853"/>
                  </a:lnTo>
                  <a:lnTo>
                    <a:pt x="449" y="1861"/>
                  </a:lnTo>
                  <a:lnTo>
                    <a:pt x="430" y="1867"/>
                  </a:lnTo>
                  <a:lnTo>
                    <a:pt x="410" y="1867"/>
                  </a:lnTo>
                  <a:lnTo>
                    <a:pt x="392" y="1861"/>
                  </a:lnTo>
                  <a:lnTo>
                    <a:pt x="374" y="1853"/>
                  </a:lnTo>
                  <a:lnTo>
                    <a:pt x="357" y="1841"/>
                  </a:lnTo>
                  <a:lnTo>
                    <a:pt x="260" y="1744"/>
                  </a:lnTo>
                  <a:lnTo>
                    <a:pt x="248" y="1728"/>
                  </a:lnTo>
                  <a:lnTo>
                    <a:pt x="240" y="1710"/>
                  </a:lnTo>
                  <a:lnTo>
                    <a:pt x="236" y="1691"/>
                  </a:lnTo>
                  <a:lnTo>
                    <a:pt x="236" y="1672"/>
                  </a:lnTo>
                  <a:lnTo>
                    <a:pt x="240" y="1653"/>
                  </a:lnTo>
                  <a:lnTo>
                    <a:pt x="248" y="1634"/>
                  </a:lnTo>
                  <a:lnTo>
                    <a:pt x="260" y="1619"/>
                  </a:lnTo>
                  <a:lnTo>
                    <a:pt x="351" y="1526"/>
                  </a:lnTo>
                  <a:lnTo>
                    <a:pt x="319" y="1477"/>
                  </a:lnTo>
                  <a:lnTo>
                    <a:pt x="292" y="1426"/>
                  </a:lnTo>
                  <a:lnTo>
                    <a:pt x="268" y="1373"/>
                  </a:lnTo>
                  <a:lnTo>
                    <a:pt x="248" y="1319"/>
                  </a:lnTo>
                  <a:lnTo>
                    <a:pt x="232" y="1263"/>
                  </a:lnTo>
                  <a:lnTo>
                    <a:pt x="219" y="1208"/>
                  </a:lnTo>
                  <a:lnTo>
                    <a:pt x="89" y="1208"/>
                  </a:lnTo>
                  <a:lnTo>
                    <a:pt x="65" y="1204"/>
                  </a:lnTo>
                  <a:lnTo>
                    <a:pt x="44" y="1196"/>
                  </a:lnTo>
                  <a:lnTo>
                    <a:pt x="26" y="1181"/>
                  </a:lnTo>
                  <a:lnTo>
                    <a:pt x="12" y="1163"/>
                  </a:lnTo>
                  <a:lnTo>
                    <a:pt x="3" y="1143"/>
                  </a:lnTo>
                  <a:lnTo>
                    <a:pt x="0" y="1119"/>
                  </a:lnTo>
                  <a:lnTo>
                    <a:pt x="0" y="982"/>
                  </a:lnTo>
                  <a:lnTo>
                    <a:pt x="3" y="958"/>
                  </a:lnTo>
                  <a:lnTo>
                    <a:pt x="12" y="937"/>
                  </a:lnTo>
                  <a:lnTo>
                    <a:pt x="26" y="920"/>
                  </a:lnTo>
                  <a:lnTo>
                    <a:pt x="44" y="905"/>
                  </a:lnTo>
                  <a:lnTo>
                    <a:pt x="65" y="896"/>
                  </a:lnTo>
                  <a:lnTo>
                    <a:pt x="89" y="893"/>
                  </a:lnTo>
                  <a:lnTo>
                    <a:pt x="220" y="893"/>
                  </a:lnTo>
                  <a:lnTo>
                    <a:pt x="233" y="838"/>
                  </a:lnTo>
                  <a:lnTo>
                    <a:pt x="249" y="783"/>
                  </a:lnTo>
                  <a:lnTo>
                    <a:pt x="269" y="729"/>
                  </a:lnTo>
                  <a:lnTo>
                    <a:pt x="293" y="676"/>
                  </a:lnTo>
                  <a:lnTo>
                    <a:pt x="320" y="625"/>
                  </a:lnTo>
                  <a:lnTo>
                    <a:pt x="353" y="575"/>
                  </a:lnTo>
                  <a:lnTo>
                    <a:pt x="259" y="483"/>
                  </a:lnTo>
                  <a:lnTo>
                    <a:pt x="247" y="467"/>
                  </a:lnTo>
                  <a:lnTo>
                    <a:pt x="238" y="448"/>
                  </a:lnTo>
                  <a:lnTo>
                    <a:pt x="234" y="430"/>
                  </a:lnTo>
                  <a:lnTo>
                    <a:pt x="234" y="411"/>
                  </a:lnTo>
                  <a:lnTo>
                    <a:pt x="238" y="391"/>
                  </a:lnTo>
                  <a:lnTo>
                    <a:pt x="247" y="373"/>
                  </a:lnTo>
                  <a:lnTo>
                    <a:pt x="259" y="357"/>
                  </a:lnTo>
                  <a:lnTo>
                    <a:pt x="356" y="260"/>
                  </a:lnTo>
                  <a:lnTo>
                    <a:pt x="372" y="247"/>
                  </a:lnTo>
                  <a:lnTo>
                    <a:pt x="390" y="238"/>
                  </a:lnTo>
                  <a:lnTo>
                    <a:pt x="409" y="234"/>
                  </a:lnTo>
                  <a:lnTo>
                    <a:pt x="429" y="234"/>
                  </a:lnTo>
                  <a:lnTo>
                    <a:pt x="448" y="238"/>
                  </a:lnTo>
                  <a:lnTo>
                    <a:pt x="465" y="247"/>
                  </a:lnTo>
                  <a:lnTo>
                    <a:pt x="482" y="260"/>
                  </a:lnTo>
                  <a:lnTo>
                    <a:pt x="576" y="352"/>
                  </a:lnTo>
                  <a:lnTo>
                    <a:pt x="636" y="316"/>
                  </a:lnTo>
                  <a:lnTo>
                    <a:pt x="698" y="284"/>
                  </a:lnTo>
                  <a:lnTo>
                    <a:pt x="761" y="259"/>
                  </a:lnTo>
                  <a:lnTo>
                    <a:pt x="828" y="237"/>
                  </a:lnTo>
                  <a:lnTo>
                    <a:pt x="894" y="222"/>
                  </a:lnTo>
                  <a:lnTo>
                    <a:pt x="894" y="88"/>
                  </a:lnTo>
                  <a:lnTo>
                    <a:pt x="897" y="64"/>
                  </a:lnTo>
                  <a:lnTo>
                    <a:pt x="905" y="44"/>
                  </a:lnTo>
                  <a:lnTo>
                    <a:pt x="920" y="26"/>
                  </a:lnTo>
                  <a:lnTo>
                    <a:pt x="938" y="11"/>
                  </a:lnTo>
                  <a:lnTo>
                    <a:pt x="959" y="3"/>
                  </a:lnTo>
                  <a:lnTo>
                    <a:pt x="982" y="0"/>
                  </a:lnTo>
                  <a:close/>
                </a:path>
              </a:pathLst>
            </a:custGeom>
            <a:grpFill/>
            <a:ln w="0">
              <a:noFill/>
              <a:prstDash val="solid"/>
              <a:round/>
              <a:headEnd/>
              <a:tailEnd/>
            </a:ln>
          </p:spPr>
          <p:txBody>
            <a:bodyPr vert="horz" wrap="square" lIns="91440" tIns="45720" rIns="91440" bIns="45720" numCol="1" anchor="t" anchorCtr="0" compatLnSpc="1">
              <a:prstTxWarp prst="textNoShape">
                <a:avLst/>
              </a:prstTxWarp>
            </a:bodyPr>
            <a:lstStyle/>
            <a:p>
              <a:endParaRPr lang="en-US"/>
            </a:p>
          </p:txBody>
        </p:sp>
      </p:grpSp>
      <p:grpSp>
        <p:nvGrpSpPr>
          <p:cNvPr id="31" name="Группа 30"/>
          <p:cNvGrpSpPr/>
          <p:nvPr/>
        </p:nvGrpSpPr>
        <p:grpSpPr>
          <a:xfrm>
            <a:off x="6683910" y="1767066"/>
            <a:ext cx="1676546" cy="1737050"/>
            <a:chOff x="3820178" y="764153"/>
            <a:chExt cx="1959731" cy="2051255"/>
          </a:xfrm>
        </p:grpSpPr>
        <p:graphicFrame>
          <p:nvGraphicFramePr>
            <p:cNvPr id="32" name="Chart 7"/>
            <p:cNvGraphicFramePr/>
            <p:nvPr/>
          </p:nvGraphicFramePr>
          <p:xfrm>
            <a:off x="3820178" y="764153"/>
            <a:ext cx="1959731" cy="2051255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35" name="TextBox 34"/>
            <p:cNvSpPr txBox="1"/>
            <p:nvPr/>
          </p:nvSpPr>
          <p:spPr>
            <a:xfrm>
              <a:off x="4367810" y="1242116"/>
              <a:ext cx="937259" cy="951418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r>
                <a:rPr lang="ru-RU" altLang="ko-KR" sz="48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4</a:t>
              </a:r>
              <a:r>
                <a:rPr lang="en-US" altLang="ko-KR" sz="2400" b="1" dirty="0">
                  <a:solidFill>
                    <a:schemeClr val="tx1">
                      <a:lumMod val="75000"/>
                      <a:lumOff val="25000"/>
                    </a:schemeClr>
                  </a:solidFill>
                  <a:cs typeface="Arial" pitchFamily="34" charset="0"/>
                </a:rPr>
                <a:t>%</a:t>
              </a:r>
              <a:endParaRPr lang="ko-KR" altLang="en-US" sz="2400" b="1" dirty="0">
                <a:solidFill>
                  <a:schemeClr val="tx1">
                    <a:lumMod val="75000"/>
                    <a:lumOff val="25000"/>
                  </a:schemeClr>
                </a:solidFill>
                <a:cs typeface="Arial" pitchFamily="34" charset="0"/>
              </a:endParaRPr>
            </a:p>
          </p:txBody>
        </p:sp>
      </p:grpSp>
      <p:sp>
        <p:nvSpPr>
          <p:cNvPr id="36" name="TextBox 35"/>
          <p:cNvSpPr txBox="1"/>
          <p:nvPr/>
        </p:nvSpPr>
        <p:spPr>
          <a:xfrm>
            <a:off x="8627908" y="2166503"/>
            <a:ext cx="2628935" cy="64633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ru-RU" dirty="0"/>
              <a:t>доля в биржевом экспорте</a:t>
            </a:r>
          </a:p>
        </p:txBody>
      </p:sp>
    </p:spTree>
    <p:extLst>
      <p:ext uri="{BB962C8B-B14F-4D97-AF65-F5344CB8AC3E}">
        <p14:creationId xmlns:p14="http://schemas.microsoft.com/office/powerpoint/2010/main" val="3454871872"/>
      </p:ext>
    </p:extLst>
  </p:cSld>
  <p:clrMapOvr>
    <a:masterClrMapping/>
  </p:clrMapOvr>
</p:sld>
</file>

<file path=ppt/slides/slide9.xml><?xml version="1.0" encoding="utf-8"?>
<p:sld xmlns:p="http://schemas.openxmlformats.org/presentationml/2006/main" xmlns:a="http://schemas.openxmlformats.org/drawingml/2006/main" xmlns:r="http://schemas.openxmlformats.org/officeDocument/2006/relationships">
  <p:cSld>
    <p:spTree>
      <p:nvGrpSpPr>
        <p:cNvPr id="1" name="Shape 24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" name="Объект 1"/>
          <p:cNvPicPr>
            <a:picLocks noChangeAspect="1"/>
          </p:cNvPicPr>
          <p:nvPr/>
        </p:nvPicPr>
        <p:blipFill>
          <a:blip r:embed="rId5"/>
          <a:srcRect/>
          <a:stretch>
            <a:fillRect/>
          </a:stretch>
        </p:blipFill>
        <p:spPr bwMode="auto">
          <a:xfrm>
            <a:off x="1588" y="1588"/>
            <a:ext cx="1588" cy="1588"/>
          </a:xfrm>
          <a:prstGeom prst="rect"/>
          <a:noFill/>
        </p:spPr>
      </p:pic>
      <p:sp>
        <p:nvSpPr>
          <p:cNvPr id="23" name="TextBox 22">
            <a:extLst>
              <a:ext uri="{FF2B5EF4-FFF2-40B4-BE49-F238E27FC236}">
                <a16:creationId xmlns:a16="http://schemas.microsoft.com/office/drawing/2014/main" id="{58307B35-A6A8-47D3-B723-528AEAAE0706}"/>
              </a:ext>
            </a:extLst>
          </p:cNvPr>
          <p:cNvSpPr txBox="1"/>
          <p:nvPr/>
        </p:nvSpPr>
        <p:spPr>
          <a:xfrm>
            <a:off x="-29417" y="1229761"/>
            <a:ext cx="2875226" cy="1077218"/>
          </a:xfrm>
          <a:prstGeom prst="rect">
            <a:avLst/>
          </a:prstGeom>
          <a:noFill/>
        </p:spPr>
        <p:txBody>
          <a:bodyPr rtlCol="0" wrap="square">
            <a:spAutoFit/>
          </a:bodyPr>
          <a:lstStyle/>
          <a:p>
            <a:pPr algn="ctr"/>
            <a:r>
              <a:rPr b="1" dirty="0" lang="ar-EG" sz="3200">
                <a:solidFill>
                  <a:schemeClr val="bg1"/>
                </a:solidFill>
                <a:latin charset="0" panose="020B0604020202020204" pitchFamily="34" typeface="Arial"/>
                <a:ea charset="0" pitchFamily="2" typeface="Roboto"/>
                <a:cs charset="0" typeface="Montserrat Bold"/>
              </a:rPr>
              <a:t>أسواق التصدير الرئيسية </a:t>
            </a:r>
            <a:endParaRPr b="1" dirty="0" lang="ru-RU" sz="3200">
              <a:solidFill>
                <a:schemeClr val="bg1"/>
              </a:solidFill>
              <a:latin charset="0" panose="020B0604020202020204" pitchFamily="34" typeface="Arial"/>
              <a:ea charset="0" pitchFamily="2" typeface="Roboto"/>
              <a:cs charset="0" typeface="Montserrat Bold"/>
              <a:sym charset="0" pitchFamily="2" typeface="Roboto"/>
            </a:endParaRPr>
          </a:p>
        </p:txBody>
      </p:sp>
      <p:sp>
        <p:nvSpPr>
          <p:cNvPr id="13" name="Заголовок 1"/>
          <p:cNvSpPr txBox="1">
            <a:spLocks/>
          </p:cNvSpPr>
          <p:nvPr/>
        </p:nvSpPr>
        <p:spPr>
          <a:xfrm>
            <a:off x="4776919" y="283532"/>
            <a:ext cx="5940660" cy="1508719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 lang="ru-RU"/>
              <a:t>Электронная </a:t>
            </a:r>
            <a:r>
              <a:rPr dirty="0" lang="en-US"/>
              <a:t>B2B</a:t>
            </a:r>
            <a:r>
              <a:rPr dirty="0" lang="ru-RU"/>
              <a:t>-площадка</a:t>
            </a:r>
            <a:endParaRPr dirty="0" lang="ru-RU">
              <a:sym charset="0" pitchFamily="2" typeface="Roboto"/>
            </a:endParaRPr>
          </a:p>
        </p:txBody>
      </p:sp>
      <p:grpSp>
        <p:nvGrpSpPr>
          <p:cNvPr id="17" name="Группа 16">
            <a:extLst>
              <a:ext uri="{FF2B5EF4-FFF2-40B4-BE49-F238E27FC236}">
                <a16:creationId xmlns:a16="http://schemas.microsoft.com/office/drawing/2014/main" id="{8A214500-0F2D-454C-9428-68B9FF90BAA8}"/>
              </a:ext>
            </a:extLst>
          </p:cNvPr>
          <p:cNvGrpSpPr/>
          <p:nvPr/>
        </p:nvGrpSpPr>
        <p:grpSpPr>
          <a:xfrm>
            <a:off x="4043772" y="1455277"/>
            <a:ext cx="6308553" cy="1010533"/>
            <a:chOff x="4157271" y="488203"/>
            <a:chExt cx="6611513" cy="1010533"/>
          </a:xfrm>
        </p:grpSpPr>
        <p:sp>
          <p:nvSpPr>
            <p:cNvPr id="18" name="TextBox 17">
              <a:extLst>
                <a:ext uri="{FF2B5EF4-FFF2-40B4-BE49-F238E27FC236}">
                  <a16:creationId xmlns:a16="http://schemas.microsoft.com/office/drawing/2014/main" id="{A6BBA7EA-184D-49AB-985C-C81F4DCF1FA4}"/>
                </a:ext>
              </a:extLst>
            </p:cNvPr>
            <p:cNvSpPr txBox="1"/>
            <p:nvPr/>
          </p:nvSpPr>
          <p:spPr>
            <a:xfrm>
              <a:off x="4690677" y="797197"/>
              <a:ext cx="6078107" cy="523220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r>
                <a:rPr b="1" dirty="0" lang="ru-RU" sz="2800">
                  <a:latin charset="0" panose="020B0604020202020204" pitchFamily="34" typeface="Arial"/>
                </a:rPr>
                <a:t>Стройматериалы</a:t>
              </a:r>
              <a:endParaRPr b="1" dirty="0" lang="ru-RU" sz="3600">
                <a:latin charset="0" panose="020B0604020202020204" pitchFamily="34" typeface="Arial"/>
                <a:sym charset="0" pitchFamily="2" typeface="Roboto"/>
              </a:endParaRPr>
            </a:p>
          </p:txBody>
        </p:sp>
        <p:sp>
          <p:nvSpPr>
            <p:cNvPr id="19" name="TextBox 18">
              <a:extLst>
                <a:ext uri="{FF2B5EF4-FFF2-40B4-BE49-F238E27FC236}">
                  <a16:creationId xmlns:a16="http://schemas.microsoft.com/office/drawing/2014/main" id="{E5AD89DC-9002-44CE-B8F0-59DDED0753B4}"/>
                </a:ext>
              </a:extLst>
            </p:cNvPr>
            <p:cNvSpPr txBox="1"/>
            <p:nvPr/>
          </p:nvSpPr>
          <p:spPr>
            <a:xfrm>
              <a:off x="4157271" y="488203"/>
              <a:ext cx="569387" cy="1010533"/>
            </a:xfrm>
            <a:prstGeom prst="rect">
              <a:avLst/>
            </a:prstGeom>
            <a:noFill/>
          </p:spPr>
          <p:txBody>
            <a:bodyPr rtlCol="0" tIns="320040" wrap="none">
              <a:spAutoFit/>
            </a:bodyPr>
            <a:lstStyle/>
            <a:p>
              <a:pPr algn="ctr">
                <a:lnSpc>
                  <a:spcPts val="5000"/>
                </a:lnSpc>
              </a:pPr>
              <a:r>
                <a:rPr dirty="0" lang="en-US" sz="5400">
                  <a:solidFill>
                    <a:schemeClr val="accent5"/>
                  </a:solidFill>
                  <a:sym charset="0" pitchFamily="2" typeface="Roboto"/>
                </a:rPr>
                <a:t>1</a:t>
              </a:r>
            </a:p>
          </p:txBody>
        </p:sp>
      </p:grpSp>
      <p:grpSp>
        <p:nvGrpSpPr>
          <p:cNvPr id="20" name="Группа 19">
            <a:extLst>
              <a:ext uri="{FF2B5EF4-FFF2-40B4-BE49-F238E27FC236}">
                <a16:creationId xmlns:a16="http://schemas.microsoft.com/office/drawing/2014/main" id="{B8951420-AEBB-4FDC-8844-1D390C4DF6EC}"/>
              </a:ext>
            </a:extLst>
          </p:cNvPr>
          <p:cNvGrpSpPr/>
          <p:nvPr/>
        </p:nvGrpSpPr>
        <p:grpSpPr>
          <a:xfrm>
            <a:off x="4115780" y="2307632"/>
            <a:ext cx="6547904" cy="1010533"/>
            <a:chOff x="4157271" y="2680173"/>
            <a:chExt cx="6922872" cy="1010533"/>
          </a:xfrm>
        </p:grpSpPr>
        <p:sp>
          <p:nvSpPr>
            <p:cNvPr id="21" name="TextBox 20">
              <a:extLst>
                <a:ext uri="{FF2B5EF4-FFF2-40B4-BE49-F238E27FC236}">
                  <a16:creationId xmlns:a16="http://schemas.microsoft.com/office/drawing/2014/main" id="{49A3BE51-1889-44A3-8BF5-E6DF5E8D1735}"/>
                </a:ext>
              </a:extLst>
            </p:cNvPr>
            <p:cNvSpPr txBox="1"/>
            <p:nvPr/>
          </p:nvSpPr>
          <p:spPr>
            <a:xfrm>
              <a:off x="4700728" y="2956688"/>
              <a:ext cx="6379415" cy="523220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r>
                <a:rPr b="1" dirty="0" lang="ru-RU" sz="2800">
                  <a:latin charset="0" panose="020B0604020202020204" pitchFamily="34" typeface="Arial"/>
                  <a:sym charset="0" pitchFamily="2" typeface="Roboto"/>
                </a:rPr>
                <a:t>Спецодежда</a:t>
              </a:r>
            </a:p>
          </p:txBody>
        </p:sp>
        <p:sp>
          <p:nvSpPr>
            <p:cNvPr id="22" name="TextBox 21">
              <a:extLst>
                <a:ext uri="{FF2B5EF4-FFF2-40B4-BE49-F238E27FC236}">
                  <a16:creationId xmlns:a16="http://schemas.microsoft.com/office/drawing/2014/main" id="{2D145989-EBD8-4137-ADA3-ADCFB7FC2453}"/>
                </a:ext>
              </a:extLst>
            </p:cNvPr>
            <p:cNvSpPr txBox="1"/>
            <p:nvPr/>
          </p:nvSpPr>
          <p:spPr>
            <a:xfrm>
              <a:off x="4157271" y="2680173"/>
              <a:ext cx="569387" cy="1010533"/>
            </a:xfrm>
            <a:prstGeom prst="rect">
              <a:avLst/>
            </a:prstGeom>
            <a:noFill/>
          </p:spPr>
          <p:txBody>
            <a:bodyPr rtlCol="0" tIns="320040" wrap="none">
              <a:spAutoFit/>
            </a:bodyPr>
            <a:lstStyle/>
            <a:p>
              <a:pPr algn="ctr">
                <a:lnSpc>
                  <a:spcPts val="5000"/>
                </a:lnSpc>
              </a:pPr>
              <a:r>
                <a:rPr dirty="0" lang="ru-RU" sz="5400">
                  <a:solidFill>
                    <a:schemeClr val="accent5"/>
                  </a:solidFill>
                  <a:sym charset="0" pitchFamily="2" typeface="Roboto"/>
                </a:rPr>
                <a:t>2</a:t>
              </a:r>
              <a:endParaRPr dirty="0" lang="en-US" sz="5400">
                <a:solidFill>
                  <a:schemeClr val="accent5"/>
                </a:solidFill>
                <a:sym charset="0" pitchFamily="2" typeface="Roboto"/>
              </a:endParaRPr>
            </a:p>
          </p:txBody>
        </p:sp>
      </p:grpSp>
      <p:grpSp>
        <p:nvGrpSpPr>
          <p:cNvPr id="24" name="Группа 23">
            <a:extLst>
              <a:ext uri="{FF2B5EF4-FFF2-40B4-BE49-F238E27FC236}">
                <a16:creationId xmlns:a16="http://schemas.microsoft.com/office/drawing/2014/main" id="{D8918CD9-CADC-40C5-8B3C-0792D0BDA564}"/>
              </a:ext>
            </a:extLst>
          </p:cNvPr>
          <p:cNvGrpSpPr/>
          <p:nvPr/>
        </p:nvGrpSpPr>
        <p:grpSpPr>
          <a:xfrm>
            <a:off x="4151784" y="3208653"/>
            <a:ext cx="5925704" cy="1010533"/>
            <a:chOff x="4241903" y="3776157"/>
            <a:chExt cx="6321748" cy="1010533"/>
          </a:xfrm>
        </p:grpSpPr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D9FB1138-CD01-448E-A3FA-DD2F9270B58F}"/>
                </a:ext>
              </a:extLst>
            </p:cNvPr>
            <p:cNvSpPr txBox="1"/>
            <p:nvPr/>
          </p:nvSpPr>
          <p:spPr>
            <a:xfrm>
              <a:off x="4756617" y="4027400"/>
              <a:ext cx="5807034" cy="523220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r>
                <a:rPr b="1" dirty="0" lang="ru-RU" sz="2800">
                  <a:latin charset="0" panose="020B0604020202020204" pitchFamily="34" typeface="Arial"/>
                  <a:sym charset="0" pitchFamily="2" typeface="Roboto"/>
                </a:rPr>
                <a:t>Сахар</a:t>
              </a: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F4AF5D3A-FA29-44F3-9038-87F2850A2D14}"/>
                </a:ext>
              </a:extLst>
            </p:cNvPr>
            <p:cNvSpPr txBox="1"/>
            <p:nvPr/>
          </p:nvSpPr>
          <p:spPr>
            <a:xfrm>
              <a:off x="4241903" y="3776157"/>
              <a:ext cx="484755" cy="1010533"/>
            </a:xfrm>
            <a:prstGeom prst="rect">
              <a:avLst/>
            </a:prstGeom>
            <a:noFill/>
          </p:spPr>
          <p:txBody>
            <a:bodyPr rtlCol="0" tIns="320040" wrap="square">
              <a:spAutoFit/>
            </a:bodyPr>
            <a:lstStyle/>
            <a:p>
              <a:pPr algn="ctr">
                <a:lnSpc>
                  <a:spcPts val="5000"/>
                </a:lnSpc>
              </a:pPr>
              <a:r>
                <a:rPr dirty="0" lang="ru-RU" sz="5400">
                  <a:solidFill>
                    <a:schemeClr val="accent5"/>
                  </a:solidFill>
                  <a:sym charset="0" pitchFamily="2" typeface="Roboto"/>
                </a:rPr>
                <a:t>3</a:t>
              </a:r>
              <a:endParaRPr dirty="0" lang="en-US" sz="5400">
                <a:solidFill>
                  <a:schemeClr val="accent5"/>
                </a:solidFill>
                <a:sym charset="0" pitchFamily="2" typeface="Roboto"/>
              </a:endParaRPr>
            </a:p>
          </p:txBody>
        </p:sp>
      </p:grpSp>
      <p:grpSp>
        <p:nvGrpSpPr>
          <p:cNvPr id="27" name="Группа 26">
            <a:extLst>
              <a:ext uri="{FF2B5EF4-FFF2-40B4-BE49-F238E27FC236}">
                <a16:creationId xmlns:a16="http://schemas.microsoft.com/office/drawing/2014/main" id="{88F63954-027A-4237-8391-AE5829CD190E}"/>
              </a:ext>
            </a:extLst>
          </p:cNvPr>
          <p:cNvGrpSpPr/>
          <p:nvPr/>
        </p:nvGrpSpPr>
        <p:grpSpPr>
          <a:xfrm>
            <a:off x="4115780" y="4105325"/>
            <a:ext cx="8481763" cy="1917364"/>
            <a:chOff x="4157271" y="4770244"/>
            <a:chExt cx="8890074" cy="1917364"/>
          </a:xfrm>
        </p:grpSpPr>
        <p:sp>
          <p:nvSpPr>
            <p:cNvPr id="28" name="TextBox 27">
              <a:extLst>
                <a:ext uri="{FF2B5EF4-FFF2-40B4-BE49-F238E27FC236}">
                  <a16:creationId xmlns:a16="http://schemas.microsoft.com/office/drawing/2014/main" id="{3E6CB4D1-8B31-477D-A4BA-DE2532D2AFE7}"/>
                </a:ext>
              </a:extLst>
            </p:cNvPr>
            <p:cNvSpPr txBox="1"/>
            <p:nvPr/>
          </p:nvSpPr>
          <p:spPr>
            <a:xfrm>
              <a:off x="4726658" y="5056392"/>
              <a:ext cx="8320687" cy="1631216"/>
            </a:xfrm>
            <a:prstGeom prst="rect">
              <a:avLst/>
            </a:prstGeom>
            <a:noFill/>
          </p:spPr>
          <p:txBody>
            <a:bodyPr rtlCol="0" wrap="square">
              <a:spAutoFit/>
            </a:bodyPr>
            <a:lstStyle/>
            <a:p>
              <a:r>
                <a:rPr b="1" dirty="0" lang="ru-RU" sz="2800">
                  <a:latin charset="0" panose="020B0604020202020204" pitchFamily="34" typeface="Arial"/>
                  <a:sym charset="0" pitchFamily="2" typeface="Roboto"/>
                </a:rPr>
                <a:t>Типовое оборудование</a:t>
              </a:r>
              <a:endParaRPr b="1" dirty="0" lang="ar-EG" sz="2800">
                <a:latin charset="0" panose="020B0604020202020204" pitchFamily="34" typeface="Arial"/>
                <a:sym charset="0" pitchFamily="2" typeface="Roboto"/>
              </a:endParaRPr>
            </a:p>
            <a:p>
              <a:r>
                <a:rPr b="1" dirty="0" lang="ar-EG" sz="2000">
                  <a:solidFill>
                    <a:schemeClr val="tx2"/>
                  </a:solidFill>
                  <a:latin charset="0" panose="020B0604020202020204" pitchFamily="34" typeface="Arial"/>
                  <a:sym charset="0" pitchFamily="2" typeface="Roboto"/>
                </a:rPr>
                <a:t> </a:t>
              </a:r>
              <a:r>
                <a:rPr dirty="0" lang="ru-RU">
                  <a:solidFill>
                    <a:srgbClr val="70AD47"/>
                  </a:solidFill>
                  <a:latin charset="0" panose="020B0604020202020204" pitchFamily="34" typeface="Arial"/>
                  <a:cs charset="0" pitchFamily="34" typeface="Arial"/>
                  <a:sym charset="0" pitchFamily="2" typeface="Roboto"/>
                </a:rPr>
                <a:t>(двигатели, резисторы, кондиционеры,</a:t>
              </a:r>
            </a:p>
            <a:p>
              <a:r>
                <a:rPr dirty="0" lang="ru-RU">
                  <a:solidFill>
                    <a:srgbClr val="70AD47"/>
                  </a:solidFill>
                  <a:latin charset="0" panose="020B0604020202020204" pitchFamily="34" typeface="Arial"/>
                  <a:cs charset="0" pitchFamily="34" typeface="Arial"/>
                  <a:sym charset="0" pitchFamily="2" typeface="Roboto"/>
                </a:rPr>
                <a:t> водонагреватели и др.)</a:t>
              </a:r>
            </a:p>
            <a:p>
              <a:endParaRPr b="1" dirty="0" lang="ru-RU" sz="2400">
                <a:solidFill>
                  <a:srgbClr val="4DAA59"/>
                </a:solidFill>
                <a:latin charset="0" panose="020B0604020202020204" pitchFamily="34" typeface="Arial"/>
                <a:cs charset="0" pitchFamily="34" typeface="Arial"/>
                <a:sym charset="0" pitchFamily="2" typeface="Roboto"/>
              </a:endParaRPr>
            </a:p>
          </p:txBody>
        </p:sp>
        <p:sp>
          <p:nvSpPr>
            <p:cNvPr id="29" name="TextBox 28">
              <a:extLst>
                <a:ext uri="{FF2B5EF4-FFF2-40B4-BE49-F238E27FC236}">
                  <a16:creationId xmlns:a16="http://schemas.microsoft.com/office/drawing/2014/main" id="{1A5B2B6D-0572-4614-B5EA-0DB87335E7EC}"/>
                </a:ext>
              </a:extLst>
            </p:cNvPr>
            <p:cNvSpPr txBox="1"/>
            <p:nvPr/>
          </p:nvSpPr>
          <p:spPr>
            <a:xfrm>
              <a:off x="4157271" y="4770244"/>
              <a:ext cx="569387" cy="1010533"/>
            </a:xfrm>
            <a:prstGeom prst="rect">
              <a:avLst/>
            </a:prstGeom>
            <a:noFill/>
          </p:spPr>
          <p:txBody>
            <a:bodyPr rtlCol="0" tIns="320040" wrap="none">
              <a:spAutoFit/>
            </a:bodyPr>
            <a:lstStyle/>
            <a:p>
              <a:pPr algn="ctr">
                <a:lnSpc>
                  <a:spcPts val="5000"/>
                </a:lnSpc>
              </a:pPr>
              <a:r>
                <a:rPr dirty="0" lang="ru-RU" sz="5400">
                  <a:solidFill>
                    <a:schemeClr val="accent5"/>
                  </a:solidFill>
                  <a:sym charset="0" pitchFamily="2" typeface="Roboto"/>
                </a:rPr>
                <a:t>4</a:t>
              </a:r>
              <a:endParaRPr dirty="0" lang="en-US" sz="5400">
                <a:solidFill>
                  <a:schemeClr val="accent5"/>
                </a:solidFill>
                <a:sym charset="0" pitchFamily="2" typeface="Roboto"/>
              </a:endParaRPr>
            </a:p>
          </p:txBody>
        </p:sp>
      </p:grpSp>
      <p:pic>
        <p:nvPicPr>
          <p:cNvPr id="30" name="Рисунок 29">
            <a:extLst>
              <a:ext uri="{FF2B5EF4-FFF2-40B4-BE49-F238E27FC236}">
                <a16:creationId xmlns:a16="http://schemas.microsoft.com/office/drawing/2014/main" id="{DCA047B7-47AA-44E5-B3A6-5DD1220370A5}"/>
              </a:ext>
            </a:extLst>
          </p:cNvPr>
          <p:cNvPicPr>
            <a:picLocks noChangeAspect="1"/>
          </p:cNvPicPr>
          <p:nvPr/>
        </p:nvPicPr>
        <p:blipFill>
          <a:blip cstate="print"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355870" y="2819586"/>
            <a:ext cx="2109285" cy="1227670"/>
          </a:xfrm>
          <a:prstGeom prst="rect">
            <a:avLst/>
          </a:prstGeom>
        </p:spPr>
      </p:pic>
      <p:pic>
        <p:nvPicPr>
          <p:cNvPr id="31" name="Рисунок 30">
            <a:extLst>
              <a:ext uri="{FF2B5EF4-FFF2-40B4-BE49-F238E27FC236}">
                <a16:creationId xmlns:a16="http://schemas.microsoft.com/office/drawing/2014/main" id="{105F0089-C179-494A-BA85-27DF4849E068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012743" y="1666121"/>
            <a:ext cx="1467004" cy="1667051"/>
          </a:xfrm>
          <a:prstGeom prst="rect">
            <a:avLst/>
          </a:prstGeom>
        </p:spPr>
      </p:pic>
      <p:pic>
        <p:nvPicPr>
          <p:cNvPr id="32" name="Рисунок 31">
            <a:extLst>
              <a:ext uri="{FF2B5EF4-FFF2-40B4-BE49-F238E27FC236}">
                <a16:creationId xmlns:a16="http://schemas.microsoft.com/office/drawing/2014/main" id="{C165C58E-029F-443F-901E-41018A8187DF}"/>
              </a:ext>
            </a:extLst>
          </p:cNvPr>
          <p:cNvPicPr>
            <a:picLocks noChangeAspect="1"/>
          </p:cNvPicPr>
          <p:nvPr/>
        </p:nvPicPr>
        <p:blipFill>
          <a:blip cstate="print" r:embed="rId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352325" y="3917431"/>
            <a:ext cx="1224136" cy="1025692"/>
          </a:xfrm>
          <a:prstGeom prst="rect">
            <a:avLst/>
          </a:prstGeom>
        </p:spPr>
      </p:pic>
      <p:sp>
        <p:nvSpPr>
          <p:cNvPr id="33" name="Rectangle 130">
            <a:extLst>
              <a:ext uri="{FF2B5EF4-FFF2-40B4-BE49-F238E27FC236}">
                <a16:creationId xmlns:a16="http://schemas.microsoft.com/office/drawing/2014/main" id="{F58A89A5-57F5-47A4-9168-729D7F0472A7}"/>
              </a:ext>
            </a:extLst>
          </p:cNvPr>
          <p:cNvSpPr/>
          <p:nvPr/>
        </p:nvSpPr>
        <p:spPr>
          <a:xfrm>
            <a:off x="839416" y="4905163"/>
            <a:ext cx="648072" cy="625459"/>
          </a:xfrm>
          <a:custGeom>
            <a:avLst/>
            <a:gdLst/>
            <a:ahLst/>
            <a:cxnLst/>
            <a:rect b="b" l="l" r="r" t="t"/>
            <a:pathLst>
              <a:path h="373588" w="371900">
                <a:moveTo>
                  <a:pt x="297080" y="129105"/>
                </a:moveTo>
                <a:lnTo>
                  <a:pt x="284273" y="219737"/>
                </a:lnTo>
                <a:lnTo>
                  <a:pt x="305496" y="219737"/>
                </a:lnTo>
                <a:lnTo>
                  <a:pt x="333001" y="129105"/>
                </a:lnTo>
                <a:close/>
                <a:moveTo>
                  <a:pt x="228265" y="129105"/>
                </a:moveTo>
                <a:lnTo>
                  <a:pt x="228265" y="219737"/>
                </a:lnTo>
                <a:lnTo>
                  <a:pt x="250807" y="219737"/>
                </a:lnTo>
                <a:lnTo>
                  <a:pt x="263614" y="129105"/>
                </a:lnTo>
                <a:close/>
                <a:moveTo>
                  <a:pt x="157021" y="129105"/>
                </a:moveTo>
                <a:lnTo>
                  <a:pt x="175826" y="219737"/>
                </a:lnTo>
                <a:lnTo>
                  <a:pt x="195129" y="219737"/>
                </a:lnTo>
                <a:lnTo>
                  <a:pt x="195129" y="129105"/>
                </a:lnTo>
                <a:close/>
                <a:moveTo>
                  <a:pt x="93087" y="129105"/>
                </a:moveTo>
                <a:lnTo>
                  <a:pt x="117372" y="219737"/>
                </a:lnTo>
                <a:lnTo>
                  <a:pt x="141984" y="219737"/>
                </a:lnTo>
                <a:lnTo>
                  <a:pt x="123179" y="129105"/>
                </a:lnTo>
                <a:close/>
                <a:moveTo>
                  <a:pt x="58494" y="0"/>
                </a:moveTo>
                <a:lnTo>
                  <a:pt x="84208" y="95969"/>
                </a:lnTo>
                <a:lnTo>
                  <a:pt x="354346" y="95969"/>
                </a:lnTo>
                <a:lnTo>
                  <a:pt x="354346" y="97437"/>
                </a:lnTo>
                <a:cubicBezTo>
                  <a:pt x="356087" y="96136"/>
                  <a:pt x="357928" y="96353"/>
                  <a:pt x="359747" y="96905"/>
                </a:cubicBezTo>
                <a:lnTo>
                  <a:pt x="360371" y="97095"/>
                </a:lnTo>
                <a:cubicBezTo>
                  <a:pt x="368954" y="99700"/>
                  <a:pt x="373801" y="108770"/>
                  <a:pt x="371196" y="117354"/>
                </a:cubicBezTo>
                <a:lnTo>
                  <a:pt x="333339" y="242097"/>
                </a:lnTo>
                <a:cubicBezTo>
                  <a:pt x="331591" y="247858"/>
                  <a:pt x="326929" y="251935"/>
                  <a:pt x="321206" y="252122"/>
                </a:cubicBezTo>
                <a:lnTo>
                  <a:pt x="321206" y="252873"/>
                </a:lnTo>
                <a:lnTo>
                  <a:pt x="313576" y="252873"/>
                </a:lnTo>
                <a:cubicBezTo>
                  <a:pt x="313378" y="253010"/>
                  <a:pt x="313229" y="252967"/>
                  <a:pt x="313080" y="252922"/>
                </a:cubicBezTo>
                <a:lnTo>
                  <a:pt x="312919" y="252873"/>
                </a:lnTo>
                <a:lnTo>
                  <a:pt x="126251" y="252873"/>
                </a:lnTo>
                <a:lnTo>
                  <a:pt x="133971" y="281687"/>
                </a:lnTo>
                <a:lnTo>
                  <a:pt x="321075" y="281687"/>
                </a:lnTo>
                <a:lnTo>
                  <a:pt x="321075" y="314823"/>
                </a:lnTo>
                <a:lnTo>
                  <a:pt x="318480" y="314823"/>
                </a:lnTo>
                <a:cubicBezTo>
                  <a:pt x="329614" y="318311"/>
                  <a:pt x="336414" y="328969"/>
                  <a:pt x="336414" y="341215"/>
                </a:cubicBezTo>
                <a:cubicBezTo>
                  <a:pt x="336414" y="359094"/>
                  <a:pt x="321920" y="373588"/>
                  <a:pt x="304041" y="373588"/>
                </a:cubicBezTo>
                <a:cubicBezTo>
                  <a:pt x="286162" y="373588"/>
                  <a:pt x="271668" y="359094"/>
                  <a:pt x="271668" y="341215"/>
                </a:cubicBezTo>
                <a:cubicBezTo>
                  <a:pt x="271668" y="328969"/>
                  <a:pt x="278468" y="318311"/>
                  <a:pt x="289602" y="314823"/>
                </a:cubicBezTo>
                <a:lnTo>
                  <a:pt x="142850" y="314823"/>
                </a:lnTo>
                <a:lnTo>
                  <a:pt x="143397" y="316865"/>
                </a:lnTo>
                <a:cubicBezTo>
                  <a:pt x="151629" y="321811"/>
                  <a:pt x="156401" y="330956"/>
                  <a:pt x="156401" y="341215"/>
                </a:cubicBezTo>
                <a:cubicBezTo>
                  <a:pt x="156401" y="359094"/>
                  <a:pt x="141907" y="373588"/>
                  <a:pt x="124028" y="373588"/>
                </a:cubicBezTo>
                <a:cubicBezTo>
                  <a:pt x="106149" y="373588"/>
                  <a:pt x="91655" y="359094"/>
                  <a:pt x="91655" y="341215"/>
                </a:cubicBezTo>
                <a:cubicBezTo>
                  <a:pt x="91655" y="329356"/>
                  <a:pt x="98032" y="318986"/>
                  <a:pt x="108649" y="315212"/>
                </a:cubicBezTo>
                <a:lnTo>
                  <a:pt x="33542" y="34909"/>
                </a:lnTo>
                <a:lnTo>
                  <a:pt x="0" y="34909"/>
                </a:lnTo>
                <a:lnTo>
                  <a:pt x="0" y="1773"/>
                </a:lnTo>
                <a:lnTo>
                  <a:pt x="51879" y="1773"/>
                </a:lnTo>
                <a:close/>
              </a:path>
            </a:pathLst>
          </a:custGeom>
          <a:solidFill>
            <a:srgbClr val="546F1B"/>
          </a:solidFill>
          <a:ln>
            <a:noFill/>
          </a:ln>
        </p:spPr>
        <p:style>
          <a:lnRef idx="0">
            <a:scrgbClr b="0" g="0" r="0"/>
          </a:lnRef>
          <a:fillRef idx="0">
            <a:scrgbClr b="0" g="0" r="0"/>
          </a:fillRef>
          <a:effectRef idx="0">
            <a:scrgbClr b="0" g="0" r="0"/>
          </a:effectRef>
          <a:fontRef idx="minor">
            <a:schemeClr val="lt1"/>
          </a:fontRef>
        </p:style>
        <p:txBody>
          <a:bodyPr anchor="ctr" rtlCol="0"/>
          <a:lstStyle/>
          <a:p>
            <a:pPr algn="ctr"/>
            <a:endParaRPr altLang="en-US" dirty="0" lang="ko-KR">
              <a:solidFill>
                <a:schemeClr val="tx1"/>
              </a:solidFill>
            </a:endParaRPr>
          </a:p>
        </p:txBody>
      </p:sp>
      <p:pic>
        <p:nvPicPr>
          <p:cNvPr id="34" name="Рисунок 33">
            <a:extLst>
              <a:ext uri="{FF2B5EF4-FFF2-40B4-BE49-F238E27FC236}">
                <a16:creationId xmlns:a16="http://schemas.microsoft.com/office/drawing/2014/main" id="{A9CBEC67-F636-419F-923C-C34D53815ACF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94162" y="1194218"/>
            <a:ext cx="1196065" cy="1196065"/>
          </a:xfrm>
          <a:prstGeom prst="rect">
            <a:avLst/>
          </a:prstGeom>
        </p:spPr>
      </p:pic>
      <p:sp>
        <p:nvSpPr>
          <p:cNvPr id="35" name="Заголовок 1"/>
          <p:cNvSpPr txBox="1">
            <a:spLocks/>
          </p:cNvSpPr>
          <p:nvPr/>
        </p:nvSpPr>
        <p:spPr>
          <a:xfrm>
            <a:off x="61066" y="2203934"/>
            <a:ext cx="4486174" cy="1843321"/>
          </a:xfrm>
          <a:prstGeom prst="rect">
            <a:avLst/>
          </a:prstGeom>
        </p:spPr>
        <p:txBody>
          <a:bodyPr>
            <a:noAutofit/>
          </a:bodyPr>
          <a:lstStyle>
            <a:lvl1pPr algn="l" defTabSz="829544" eaLnBrk="1" hangingPunct="1" latinLnBrk="1" rtl="0">
              <a:spcBef>
                <a:spcPct val="0"/>
              </a:spcBef>
              <a:buNone/>
              <a:defRPr b="1" kern="1200" sz="3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dirty="0" lang="ru-RU" sz="2800">
                <a:sym charset="0" pitchFamily="2" typeface="Roboto"/>
              </a:rPr>
              <a:t>Торги </a:t>
            </a:r>
            <a:br>
              <a:rPr dirty="0" lang="ru-RU" sz="2800">
                <a:sym charset="0" pitchFamily="2" typeface="Roboto"/>
              </a:rPr>
            </a:br>
            <a:r>
              <a:rPr dirty="0" lang="ru-RU" sz="2800">
                <a:sym charset="0" pitchFamily="2" typeface="Roboto"/>
              </a:rPr>
              <a:t>промышленными </a:t>
            </a:r>
            <a:br>
              <a:rPr dirty="0" lang="ru-RU" sz="2800">
                <a:sym charset="0" pitchFamily="2" typeface="Roboto"/>
              </a:rPr>
            </a:br>
            <a:r>
              <a:rPr dirty="0" lang="ru-RU" sz="2800">
                <a:sym charset="0" pitchFamily="2" typeface="Roboto"/>
              </a:rPr>
              <a:t>и потребительскими</a:t>
            </a:r>
            <a:br>
              <a:rPr dirty="0" lang="ru-RU" sz="2800">
                <a:sym charset="0" pitchFamily="2" typeface="Roboto"/>
              </a:rPr>
            </a:br>
            <a:r>
              <a:rPr dirty="0" lang="ru-RU" sz="2800">
                <a:sym charset="0" pitchFamily="2" typeface="Roboto"/>
              </a:rPr>
              <a:t>товарами</a:t>
            </a:r>
          </a:p>
        </p:txBody>
      </p:sp>
      <p:sp>
        <p:nvSpPr>
          <p:cNvPr id="3" name="Прямоугольник 2"/>
          <p:cNvSpPr/>
          <p:nvPr/>
        </p:nvSpPr>
        <p:spPr>
          <a:xfrm>
            <a:off x="2566552" y="6103542"/>
            <a:ext cx="9282990" cy="769441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/>
            <a:r>
              <a:rPr b="1" dirty="0" lang="ru-RU" sz="4400">
                <a:solidFill>
                  <a:srgbClr val="70AD47"/>
                </a:solidFill>
                <a:latin charset="0" panose="020B0604020202020204" pitchFamily="34" typeface="Arial"/>
                <a:cs charset="0" pitchFamily="34" typeface="Arial"/>
                <a:sym charset="0" pitchFamily="2" typeface="Roboto"/>
              </a:rPr>
              <a:t>&gt;3 000 </a:t>
            </a:r>
            <a:r>
              <a:rPr b="1" dirty="0" lang="ru-RU" sz="3600">
                <a:latin charset="0" panose="020B0604020202020204" pitchFamily="34" typeface="Arial"/>
                <a:sym charset="0" pitchFamily="2" typeface="Roboto"/>
              </a:rPr>
              <a:t>товарных позиций, торги </a:t>
            </a:r>
            <a:r>
              <a:rPr b="1" dirty="0" lang="ru-RU" sz="4400">
                <a:solidFill>
                  <a:srgbClr val="70AD47"/>
                </a:solidFill>
                <a:latin charset="0" panose="020B0604020202020204" pitchFamily="34" typeface="Arial"/>
                <a:cs charset="0" pitchFamily="34" typeface="Arial"/>
                <a:sym charset="0" pitchFamily="2" typeface="Roboto"/>
              </a:rPr>
              <a:t>24/7</a:t>
            </a:r>
          </a:p>
        </p:txBody>
      </p:sp>
    </p:spTree>
    <p:extLst>
      <p:ext uri="{BB962C8B-B14F-4D97-AF65-F5344CB8AC3E}">
        <p14:creationId xmlns:p14="http://schemas.microsoft.com/office/powerpoint/2010/main" val="3995863411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Xs5aNBndX0vbsvN2F6anJw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Cover and End Slide Master">
  <a:themeElements>
    <a:clrScheme name="ALLPPT-COLOR-A3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49941"/>
      </a:accent1>
      <a:accent2>
        <a:srgbClr val="A4D144"/>
      </a:accent2>
      <a:accent3>
        <a:srgbClr val="649941"/>
      </a:accent3>
      <a:accent4>
        <a:srgbClr val="A4D144"/>
      </a:accent4>
      <a:accent5>
        <a:srgbClr val="649941"/>
      </a:accent5>
      <a:accent6>
        <a:srgbClr val="A4D144"/>
      </a:accent6>
      <a:hlink>
        <a:srgbClr val="76923C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ntents Slide Master">
  <a:themeElements>
    <a:clrScheme name="ALLPPT-COLOR-A3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49941"/>
      </a:accent1>
      <a:accent2>
        <a:srgbClr val="A4D144"/>
      </a:accent2>
      <a:accent3>
        <a:srgbClr val="649941"/>
      </a:accent3>
      <a:accent4>
        <a:srgbClr val="A4D144"/>
      </a:accent4>
      <a:accent5>
        <a:srgbClr val="649941"/>
      </a:accent5>
      <a:accent6>
        <a:srgbClr val="A4D144"/>
      </a:accent6>
      <a:hlink>
        <a:srgbClr val="76923C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Section Break Slide Master">
  <a:themeElements>
    <a:clrScheme name="ALLPPT-COLOR-A3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49941"/>
      </a:accent1>
      <a:accent2>
        <a:srgbClr val="A4D144"/>
      </a:accent2>
      <a:accent3>
        <a:srgbClr val="649941"/>
      </a:accent3>
      <a:accent4>
        <a:srgbClr val="A4D144"/>
      </a:accent4>
      <a:accent5>
        <a:srgbClr val="649941"/>
      </a:accent5>
      <a:accent6>
        <a:srgbClr val="A4D144"/>
      </a:accent6>
      <a:hlink>
        <a:srgbClr val="76923C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4.xml><?xml version="1.0" encoding="utf-8"?>
<a:theme xmlns:a="http://schemas.openxmlformats.org/drawingml/2006/main" name="1_Contents Slide Master">
  <a:themeElements>
    <a:clrScheme name="ALLPPT-COLOR-A31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649941"/>
      </a:accent1>
      <a:accent2>
        <a:srgbClr val="A4D144"/>
      </a:accent2>
      <a:accent3>
        <a:srgbClr val="649941"/>
      </a:accent3>
      <a:accent4>
        <a:srgbClr val="A4D144"/>
      </a:accent4>
      <a:accent5>
        <a:srgbClr val="649941"/>
      </a:accent5>
      <a:accent6>
        <a:srgbClr val="A4D144"/>
      </a:accent6>
      <a:hlink>
        <a:srgbClr val="76923C"/>
      </a:hlink>
      <a:folHlink>
        <a:srgbClr val="800080"/>
      </a:folHlink>
    </a:clrScheme>
    <a:fontScheme name="ALLPPT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2118</TotalTime>
  <Words>689</Words>
  <Application>Microsoft Office PowerPoint</Application>
  <PresentationFormat>Широкоэкранный</PresentationFormat>
  <Paragraphs>262</Paragraphs>
  <Slides>21</Slides>
  <Notes>17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3</vt:i4>
      </vt:variant>
      <vt:variant>
        <vt:lpstr>Тема</vt:lpstr>
      </vt:variant>
      <vt:variant>
        <vt:i4>4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21</vt:i4>
      </vt:variant>
    </vt:vector>
  </HeadingPairs>
  <TitlesOfParts>
    <vt:vector size="29" baseType="lpstr">
      <vt:lpstr>Arial</vt:lpstr>
      <vt:lpstr>Calibri</vt:lpstr>
      <vt:lpstr>Wingdings</vt:lpstr>
      <vt:lpstr>Cover and End Slide Master</vt:lpstr>
      <vt:lpstr>Contents Slide Master</vt:lpstr>
      <vt:lpstr>Section Break Slide Master</vt:lpstr>
      <vt:lpstr>1_Contents Slide Master</vt:lpstr>
      <vt:lpstr>Слайд think-cell</vt:lpstr>
      <vt:lpstr>Презентация PowerPoint</vt:lpstr>
      <vt:lpstr>Биржа в цифрах</vt:lpstr>
      <vt:lpstr>Ключевые показатели внешней  торговли</vt:lpstr>
      <vt:lpstr>Презентация PowerPoint</vt:lpstr>
      <vt:lpstr>Биржевая торговля с РФ</vt:lpstr>
      <vt:lpstr>Презентация PowerPoint</vt:lpstr>
      <vt:lpstr>Презентация PowerPoint</vt:lpstr>
      <vt:lpstr>Торги  металлопродукцией</vt:lpstr>
      <vt:lpstr>Презентация PowerPoint</vt:lpstr>
      <vt:lpstr>Торги  сельхозпродукцией</vt:lpstr>
      <vt:lpstr>ТОП-5  регионов РФ по товарообороту</vt:lpstr>
      <vt:lpstr> Пензенская  область</vt:lpstr>
      <vt:lpstr>Презентация PowerPoint</vt:lpstr>
      <vt:lpstr>Презентация PowerPoint</vt:lpstr>
      <vt:lpstr>Презентация PowerPoint</vt:lpstr>
      <vt:lpstr>Статистика  регионов РФ</vt:lpstr>
      <vt:lpstr>Презентация PowerPoint</vt:lpstr>
      <vt:lpstr>Презентация PowerPoint</vt:lpstr>
      <vt:lpstr>Простой и бесплатный вход</vt:lpstr>
      <vt:lpstr>Презентация PowerPoint</vt:lpstr>
      <vt:lpstr>Презентация PowerPoint</vt:lpstr>
    </vt:vector>
  </TitlesOfParts>
  <Company>Microsoft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GoogleSlidesPPT.com;Allppt.com</dc:creator>
  <cp:lastModifiedBy>Безменов Игорь Александрович</cp:lastModifiedBy>
  <cp:revision>507</cp:revision>
  <cp:lastPrinted>2021-07-14T14:45:41Z</cp:lastPrinted>
  <dcterms:created xsi:type="dcterms:W3CDTF">2016-12-05T23:26:54Z</dcterms:created>
  <dcterms:modified xsi:type="dcterms:W3CDTF">2022-04-25T08:44:19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name="NXPowerLiteLastOptimized" pid="2">
    <vt:lpwstr>2182613</vt:lpwstr>
  </property>
  <property fmtid="{D5CDD505-2E9C-101B-9397-08002B2CF9AE}" name="NXPowerLiteSettings" pid="3">
    <vt:lpwstr>F7000400038000</vt:lpwstr>
  </property>
  <property fmtid="{D5CDD505-2E9C-101B-9397-08002B2CF9AE}" name="NXPowerLiteVersion" pid="4">
    <vt:lpwstr>S9.1.4</vt:lpwstr>
  </property>
</Properties>
</file>